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4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5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6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7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8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0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1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2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22" r:id="rId4"/>
  </p:sldMasterIdLst>
  <p:notesMasterIdLst>
    <p:notesMasterId r:id="rId29"/>
  </p:notesMasterIdLst>
  <p:handoutMasterIdLst>
    <p:handoutMasterId r:id="rId30"/>
  </p:handoutMasterIdLst>
  <p:sldIdLst>
    <p:sldId id="1881838538" r:id="rId5"/>
    <p:sldId id="1881838550" r:id="rId6"/>
    <p:sldId id="1881838511" r:id="rId7"/>
    <p:sldId id="1774" r:id="rId8"/>
    <p:sldId id="1881838660" r:id="rId9"/>
    <p:sldId id="4843" r:id="rId10"/>
    <p:sldId id="1881838661" r:id="rId11"/>
    <p:sldId id="1881838662" r:id="rId12"/>
    <p:sldId id="4842" r:id="rId13"/>
    <p:sldId id="1881838676" r:id="rId14"/>
    <p:sldId id="1881838677" r:id="rId15"/>
    <p:sldId id="1881838674" r:id="rId16"/>
    <p:sldId id="1881838663" r:id="rId17"/>
    <p:sldId id="1881838664" r:id="rId18"/>
    <p:sldId id="1881838675" r:id="rId19"/>
    <p:sldId id="1881838665" r:id="rId20"/>
    <p:sldId id="1881838673" r:id="rId21"/>
    <p:sldId id="1881838672" r:id="rId22"/>
    <p:sldId id="1881838666" r:id="rId23"/>
    <p:sldId id="1881838667" r:id="rId24"/>
    <p:sldId id="1881838668" r:id="rId25"/>
    <p:sldId id="1881838669" r:id="rId26"/>
    <p:sldId id="1881838670" r:id="rId27"/>
    <p:sldId id="1881838671" r:id="rId28"/>
  </p:sldIdLst>
  <p:sldSz cx="12198350" cy="6858000"/>
  <p:notesSz cx="6794500" cy="99060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+ Titel &amp; Content" id="{FA3E3A1E-145F-49BC-BD12-4B93F0DF26D2}">
          <p14:sldIdLst>
            <p14:sldId id="1881838538"/>
            <p14:sldId id="1881838550"/>
          </p14:sldIdLst>
        </p14:section>
        <p14:section name="Agenda" id="{2373BA27-A7CC-4FCA-BE36-1DA17548E91D}">
          <p14:sldIdLst>
            <p14:sldId id="1881838511"/>
            <p14:sldId id="1774"/>
            <p14:sldId id="1881838660"/>
            <p14:sldId id="4843"/>
            <p14:sldId id="1881838661"/>
            <p14:sldId id="1881838662"/>
            <p14:sldId id="4842"/>
            <p14:sldId id="1881838676"/>
            <p14:sldId id="1881838677"/>
            <p14:sldId id="1881838674"/>
            <p14:sldId id="1881838663"/>
            <p14:sldId id="1881838664"/>
            <p14:sldId id="1881838675"/>
            <p14:sldId id="1881838665"/>
            <p14:sldId id="1881838673"/>
            <p14:sldId id="1881838672"/>
            <p14:sldId id="1881838666"/>
            <p14:sldId id="1881838667"/>
            <p14:sldId id="1881838668"/>
            <p14:sldId id="1881838669"/>
            <p14:sldId id="1881838670"/>
            <p14:sldId id="188183867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0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9" name="Author" initials="A" lastIdx="0" clrIdx="18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00FF"/>
    <a:srgbClr val="2E2E38"/>
    <a:srgbClr val="F6F6FA"/>
    <a:srgbClr val="FFE600"/>
    <a:srgbClr val="000000"/>
    <a:srgbClr val="4B4B4B"/>
    <a:srgbClr val="323232"/>
    <a:srgbClr val="595959"/>
    <a:srgbClr val="3E3E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45F9FB1-91AB-47F3-B5D3-97CA4DAC03B3}" v="489" dt="2025-09-25T15:05:17.070"/>
    <p1510:client id="{9654125D-50A4-49C0-891A-788B118DD10E}" v="308" dt="2025-09-25T15:56:00.884"/>
    <p1510:client id="{E8696C2D-FC87-47CC-A9AD-4DDD29F13C82}" v="792" dt="2025-09-25T14:43:57.47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0"/>
        <p:guide pos="214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iren Tarrech D Souza" userId="faf9d855-04fe-4991-b067-cd0707ae14e1" providerId="ADAL" clId="{9654125D-50A4-49C0-891A-788B118DD10E}"/>
    <pc:docChg chg="undo custSel addSld delSld modSld sldOrd modSection">
      <pc:chgData name="Kiren Tarrech D Souza" userId="faf9d855-04fe-4991-b067-cd0707ae14e1" providerId="ADAL" clId="{9654125D-50A4-49C0-891A-788B118DD10E}" dt="2025-09-25T15:56:00.884" v="315" actId="729"/>
      <pc:docMkLst>
        <pc:docMk/>
      </pc:docMkLst>
      <pc:sldChg chg="addSp delSp modSp mod">
        <pc:chgData name="Kiren Tarrech D Souza" userId="faf9d855-04fe-4991-b067-cd0707ae14e1" providerId="ADAL" clId="{9654125D-50A4-49C0-891A-788B118DD10E}" dt="2025-09-25T14:13:55.613" v="3" actId="478"/>
        <pc:sldMkLst>
          <pc:docMk/>
          <pc:sldMk cId="1749681604" sldId="4842"/>
        </pc:sldMkLst>
        <pc:graphicFrameChg chg="add del mod">
          <ac:chgData name="Kiren Tarrech D Souza" userId="faf9d855-04fe-4991-b067-cd0707ae14e1" providerId="ADAL" clId="{9654125D-50A4-49C0-891A-788B118DD10E}" dt="2025-09-25T14:13:55.613" v="3" actId="478"/>
          <ac:graphicFrameMkLst>
            <pc:docMk/>
            <pc:sldMk cId="1749681604" sldId="4842"/>
            <ac:graphicFrameMk id="4" creationId="{71F3C706-0230-544B-9235-BCE4BACD3E65}"/>
          </ac:graphicFrameMkLst>
        </pc:graphicFrameChg>
      </pc:sldChg>
      <pc:sldChg chg="addSp delSp modSp mod">
        <pc:chgData name="Kiren Tarrech D Souza" userId="faf9d855-04fe-4991-b067-cd0707ae14e1" providerId="ADAL" clId="{9654125D-50A4-49C0-891A-788B118DD10E}" dt="2025-09-25T14:17:58.686" v="55" actId="478"/>
        <pc:sldMkLst>
          <pc:docMk/>
          <pc:sldMk cId="25113808" sldId="1881838662"/>
        </pc:sldMkLst>
        <pc:spChg chg="del">
          <ac:chgData name="Kiren Tarrech D Souza" userId="faf9d855-04fe-4991-b067-cd0707ae14e1" providerId="ADAL" clId="{9654125D-50A4-49C0-891A-788B118DD10E}" dt="2025-09-25T14:17:41.889" v="50" actId="478"/>
          <ac:spMkLst>
            <pc:docMk/>
            <pc:sldMk cId="25113808" sldId="1881838662"/>
            <ac:spMk id="12" creationId="{1A331DBD-5ACE-DA9C-CD20-62DF6AA56D6A}"/>
          </ac:spMkLst>
        </pc:spChg>
        <pc:spChg chg="del mod">
          <ac:chgData name="Kiren Tarrech D Souza" userId="faf9d855-04fe-4991-b067-cd0707ae14e1" providerId="ADAL" clId="{9654125D-50A4-49C0-891A-788B118DD10E}" dt="2025-09-25T14:17:58.686" v="55" actId="478"/>
          <ac:spMkLst>
            <pc:docMk/>
            <pc:sldMk cId="25113808" sldId="1881838662"/>
            <ac:spMk id="21" creationId="{577ADB19-EB46-163E-061B-AABF932BF0A4}"/>
          </ac:spMkLst>
        </pc:spChg>
        <pc:picChg chg="add mod">
          <ac:chgData name="Kiren Tarrech D Souza" userId="faf9d855-04fe-4991-b067-cd0707ae14e1" providerId="ADAL" clId="{9654125D-50A4-49C0-891A-788B118DD10E}" dt="2025-09-25T14:17:45.749" v="52" actId="1076"/>
          <ac:picMkLst>
            <pc:docMk/>
            <pc:sldMk cId="25113808" sldId="1881838662"/>
            <ac:picMk id="5" creationId="{27982264-8F1F-1D1B-20BC-E4848C040BE6}"/>
          </ac:picMkLst>
        </pc:picChg>
        <pc:picChg chg="add mod">
          <ac:chgData name="Kiren Tarrech D Souza" userId="faf9d855-04fe-4991-b067-cd0707ae14e1" providerId="ADAL" clId="{9654125D-50A4-49C0-891A-788B118DD10E}" dt="2025-09-25T14:17:47.674" v="53" actId="1076"/>
          <ac:picMkLst>
            <pc:docMk/>
            <pc:sldMk cId="25113808" sldId="1881838662"/>
            <ac:picMk id="8" creationId="{E715DC6E-F593-98F2-43A3-5644E92D5702}"/>
          </ac:picMkLst>
        </pc:picChg>
        <pc:picChg chg="add mod">
          <ac:chgData name="Kiren Tarrech D Souza" userId="faf9d855-04fe-4991-b067-cd0707ae14e1" providerId="ADAL" clId="{9654125D-50A4-49C0-891A-788B118DD10E}" dt="2025-09-25T14:17:44.122" v="51" actId="1076"/>
          <ac:picMkLst>
            <pc:docMk/>
            <pc:sldMk cId="25113808" sldId="1881838662"/>
            <ac:picMk id="11" creationId="{7FF24C39-A630-5549-71E3-4899E26C54A0}"/>
          </ac:picMkLst>
        </pc:picChg>
        <pc:picChg chg="add mod">
          <ac:chgData name="Kiren Tarrech D Souza" userId="faf9d855-04fe-4991-b067-cd0707ae14e1" providerId="ADAL" clId="{9654125D-50A4-49C0-891A-788B118DD10E}" dt="2025-09-25T14:17:20.512" v="48" actId="1076"/>
          <ac:picMkLst>
            <pc:docMk/>
            <pc:sldMk cId="25113808" sldId="1881838662"/>
            <ac:picMk id="14" creationId="{301F5096-6274-F6C0-0098-DB7ADB16CBEC}"/>
          </ac:picMkLst>
        </pc:picChg>
        <pc:picChg chg="add mod">
          <ac:chgData name="Kiren Tarrech D Souza" userId="faf9d855-04fe-4991-b067-cd0707ae14e1" providerId="ADAL" clId="{9654125D-50A4-49C0-891A-788B118DD10E}" dt="2025-09-25T14:17:50.389" v="54" actId="1076"/>
          <ac:picMkLst>
            <pc:docMk/>
            <pc:sldMk cId="25113808" sldId="1881838662"/>
            <ac:picMk id="16" creationId="{1486559B-0164-3EBC-F7F0-C6738FFD9482}"/>
          </ac:picMkLst>
        </pc:picChg>
      </pc:sldChg>
      <pc:sldChg chg="addSp delSp modSp mod">
        <pc:chgData name="Kiren Tarrech D Souza" userId="faf9d855-04fe-4991-b067-cd0707ae14e1" providerId="ADAL" clId="{9654125D-50A4-49C0-891A-788B118DD10E}" dt="2025-09-25T14:40:40.750" v="160" actId="1076"/>
        <pc:sldMkLst>
          <pc:docMk/>
          <pc:sldMk cId="3107974291" sldId="1881838664"/>
        </pc:sldMkLst>
        <pc:spChg chg="del mod">
          <ac:chgData name="Kiren Tarrech D Souza" userId="faf9d855-04fe-4991-b067-cd0707ae14e1" providerId="ADAL" clId="{9654125D-50A4-49C0-891A-788B118DD10E}" dt="2025-09-25T14:33:55.892" v="83"/>
          <ac:spMkLst>
            <pc:docMk/>
            <pc:sldMk cId="3107974291" sldId="1881838664"/>
            <ac:spMk id="21" creationId="{6B0D77DE-79F0-369C-FAF5-00C9483536A8}"/>
          </ac:spMkLst>
        </pc:spChg>
        <pc:picChg chg="add mod">
          <ac:chgData name="Kiren Tarrech D Souza" userId="faf9d855-04fe-4991-b067-cd0707ae14e1" providerId="ADAL" clId="{9654125D-50A4-49C0-891A-788B118DD10E}" dt="2025-09-25T14:40:30.221" v="157" actId="1076"/>
          <ac:picMkLst>
            <pc:docMk/>
            <pc:sldMk cId="3107974291" sldId="1881838664"/>
            <ac:picMk id="5" creationId="{FFEF81B4-B069-8496-F46D-C2F9687CB601}"/>
          </ac:picMkLst>
        </pc:picChg>
        <pc:picChg chg="add del mod">
          <ac:chgData name="Kiren Tarrech D Souza" userId="faf9d855-04fe-4991-b067-cd0707ae14e1" providerId="ADAL" clId="{9654125D-50A4-49C0-891A-788B118DD10E}" dt="2025-09-25T14:36:45.197" v="92" actId="478"/>
          <ac:picMkLst>
            <pc:docMk/>
            <pc:sldMk cId="3107974291" sldId="1881838664"/>
            <ac:picMk id="8" creationId="{697E9423-5384-3807-EE36-BF8996873079}"/>
          </ac:picMkLst>
        </pc:picChg>
        <pc:picChg chg="add mod">
          <ac:chgData name="Kiren Tarrech D Souza" userId="faf9d855-04fe-4991-b067-cd0707ae14e1" providerId="ADAL" clId="{9654125D-50A4-49C0-891A-788B118DD10E}" dt="2025-09-25T14:36:54.602" v="98" actId="1076"/>
          <ac:picMkLst>
            <pc:docMk/>
            <pc:sldMk cId="3107974291" sldId="1881838664"/>
            <ac:picMk id="11" creationId="{AEA2DF99-B7DB-A21F-4A7D-E3B2BD85A234}"/>
          </ac:picMkLst>
        </pc:picChg>
        <pc:picChg chg="add mod">
          <ac:chgData name="Kiren Tarrech D Souza" userId="faf9d855-04fe-4991-b067-cd0707ae14e1" providerId="ADAL" clId="{9654125D-50A4-49C0-891A-788B118DD10E}" dt="2025-09-25T14:40:40.750" v="160" actId="1076"/>
          <ac:picMkLst>
            <pc:docMk/>
            <pc:sldMk cId="3107974291" sldId="1881838664"/>
            <ac:picMk id="14" creationId="{CF3D9191-8E1C-2D09-617D-B0007BAE1053}"/>
          </ac:picMkLst>
        </pc:picChg>
      </pc:sldChg>
      <pc:sldChg chg="addSp modSp mod">
        <pc:chgData name="Kiren Tarrech D Souza" userId="faf9d855-04fe-4991-b067-cd0707ae14e1" providerId="ADAL" clId="{9654125D-50A4-49C0-891A-788B118DD10E}" dt="2025-09-25T15:06:33.530" v="264" actId="1038"/>
        <pc:sldMkLst>
          <pc:docMk/>
          <pc:sldMk cId="1049116289" sldId="1881838665"/>
        </pc:sldMkLst>
        <pc:spChg chg="add mod">
          <ac:chgData name="Kiren Tarrech D Souza" userId="faf9d855-04fe-4991-b067-cd0707ae14e1" providerId="ADAL" clId="{9654125D-50A4-49C0-891A-788B118DD10E}" dt="2025-09-25T15:06:05.217" v="233" actId="1038"/>
          <ac:spMkLst>
            <pc:docMk/>
            <pc:sldMk cId="1049116289" sldId="1881838665"/>
            <ac:spMk id="4" creationId="{97CCA2DB-1024-9BDD-2095-FDE9240CF234}"/>
          </ac:spMkLst>
        </pc:spChg>
        <pc:spChg chg="mod">
          <ac:chgData name="Kiren Tarrech D Souza" userId="faf9d855-04fe-4991-b067-cd0707ae14e1" providerId="ADAL" clId="{9654125D-50A4-49C0-891A-788B118DD10E}" dt="2025-09-25T15:06:05.217" v="233" actId="1038"/>
          <ac:spMkLst>
            <pc:docMk/>
            <pc:sldMk cId="1049116289" sldId="1881838665"/>
            <ac:spMk id="12" creationId="{7664FC2D-0974-09DF-D903-01DF1E3271E3}"/>
          </ac:spMkLst>
        </pc:spChg>
        <pc:spChg chg="mod">
          <ac:chgData name="Kiren Tarrech D Souza" userId="faf9d855-04fe-4991-b067-cd0707ae14e1" providerId="ADAL" clId="{9654125D-50A4-49C0-891A-788B118DD10E}" dt="2025-09-25T15:06:05.217" v="233" actId="1038"/>
          <ac:spMkLst>
            <pc:docMk/>
            <pc:sldMk cId="1049116289" sldId="1881838665"/>
            <ac:spMk id="21" creationId="{2E3BEEF6-2825-8992-1A50-BB3CA4711CB7}"/>
          </ac:spMkLst>
        </pc:spChg>
        <pc:graphicFrameChg chg="add mod modGraphic">
          <ac:chgData name="Kiren Tarrech D Souza" userId="faf9d855-04fe-4991-b067-cd0707ae14e1" providerId="ADAL" clId="{9654125D-50A4-49C0-891A-788B118DD10E}" dt="2025-09-25T15:06:05.217" v="233" actId="1038"/>
          <ac:graphicFrameMkLst>
            <pc:docMk/>
            <pc:sldMk cId="1049116289" sldId="1881838665"/>
            <ac:graphicFrameMk id="7" creationId="{6887A095-8542-F9E3-B324-DB8B778D1E3C}"/>
          </ac:graphicFrameMkLst>
        </pc:graphicFrameChg>
        <pc:graphicFrameChg chg="add mod modGraphic">
          <ac:chgData name="Kiren Tarrech D Souza" userId="faf9d855-04fe-4991-b067-cd0707ae14e1" providerId="ADAL" clId="{9654125D-50A4-49C0-891A-788B118DD10E}" dt="2025-09-25T15:06:05.217" v="233" actId="1038"/>
          <ac:graphicFrameMkLst>
            <pc:docMk/>
            <pc:sldMk cId="1049116289" sldId="1881838665"/>
            <ac:graphicFrameMk id="8" creationId="{2E0BF683-3207-3D1E-87D3-3473F42F3A7E}"/>
          </ac:graphicFrameMkLst>
        </pc:graphicFrameChg>
        <pc:picChg chg="mod">
          <ac:chgData name="Kiren Tarrech D Souza" userId="faf9d855-04fe-4991-b067-cd0707ae14e1" providerId="ADAL" clId="{9654125D-50A4-49C0-891A-788B118DD10E}" dt="2025-09-25T15:06:05.217" v="233" actId="1038"/>
          <ac:picMkLst>
            <pc:docMk/>
            <pc:sldMk cId="1049116289" sldId="1881838665"/>
            <ac:picMk id="5" creationId="{EAA4AB55-87C7-12C5-19E3-3E2B21AECE31}"/>
          </ac:picMkLst>
        </pc:picChg>
        <pc:picChg chg="add mod">
          <ac:chgData name="Kiren Tarrech D Souza" userId="faf9d855-04fe-4991-b067-cd0707ae14e1" providerId="ADAL" clId="{9654125D-50A4-49C0-891A-788B118DD10E}" dt="2025-09-25T15:06:33.530" v="264" actId="1038"/>
          <ac:picMkLst>
            <pc:docMk/>
            <pc:sldMk cId="1049116289" sldId="1881838665"/>
            <ac:picMk id="11" creationId="{4067B7F4-CFF4-2588-B5F6-FFF6AECD0B31}"/>
          </ac:picMkLst>
        </pc:picChg>
      </pc:sldChg>
      <pc:sldChg chg="addSp delSp mod">
        <pc:chgData name="Kiren Tarrech D Souza" userId="faf9d855-04fe-4991-b067-cd0707ae14e1" providerId="ADAL" clId="{9654125D-50A4-49C0-891A-788B118DD10E}" dt="2025-09-25T14:58:46.612" v="187" actId="478"/>
        <pc:sldMkLst>
          <pc:docMk/>
          <pc:sldMk cId="3241203451" sldId="1881838670"/>
        </pc:sldMkLst>
        <pc:spChg chg="add del">
          <ac:chgData name="Kiren Tarrech D Souza" userId="faf9d855-04fe-4991-b067-cd0707ae14e1" providerId="ADAL" clId="{9654125D-50A4-49C0-891A-788B118DD10E}" dt="2025-09-25T14:58:46.612" v="187" actId="478"/>
          <ac:spMkLst>
            <pc:docMk/>
            <pc:sldMk cId="3241203451" sldId="1881838670"/>
            <ac:spMk id="135" creationId="{10BC0659-3921-7BE2-4DE6-D802E4443D28}"/>
          </ac:spMkLst>
        </pc:spChg>
      </pc:sldChg>
      <pc:sldChg chg="addSp delSp modSp mod ord modShow">
        <pc:chgData name="Kiren Tarrech D Souza" userId="faf9d855-04fe-4991-b067-cd0707ae14e1" providerId="ADAL" clId="{9654125D-50A4-49C0-891A-788B118DD10E}" dt="2025-09-25T15:56:00.884" v="315" actId="729"/>
        <pc:sldMkLst>
          <pc:docMk/>
          <pc:sldMk cId="2325637886" sldId="1881838673"/>
        </pc:sldMkLst>
        <pc:picChg chg="mod">
          <ac:chgData name="Kiren Tarrech D Souza" userId="faf9d855-04fe-4991-b067-cd0707ae14e1" providerId="ADAL" clId="{9654125D-50A4-49C0-891A-788B118DD10E}" dt="2025-09-25T14:53:59.618" v="185" actId="14100"/>
          <ac:picMkLst>
            <pc:docMk/>
            <pc:sldMk cId="2325637886" sldId="1881838673"/>
            <ac:picMk id="5" creationId="{DFCCF17D-8F97-754B-340B-1A2568316903}"/>
          </ac:picMkLst>
        </pc:picChg>
        <pc:picChg chg="add del">
          <ac:chgData name="Kiren Tarrech D Souza" userId="faf9d855-04fe-4991-b067-cd0707ae14e1" providerId="ADAL" clId="{9654125D-50A4-49C0-891A-788B118DD10E}" dt="2025-09-25T14:31:00.368" v="57" actId="478"/>
          <ac:picMkLst>
            <pc:docMk/>
            <pc:sldMk cId="2325637886" sldId="1881838673"/>
            <ac:picMk id="7" creationId="{715AD2FB-A5F1-1777-B7A0-E1C67EC54C2B}"/>
          </ac:picMkLst>
        </pc:picChg>
        <pc:picChg chg="mod">
          <ac:chgData name="Kiren Tarrech D Souza" userId="faf9d855-04fe-4991-b067-cd0707ae14e1" providerId="ADAL" clId="{9654125D-50A4-49C0-891A-788B118DD10E}" dt="2025-09-25T15:29:42.079" v="314" actId="1035"/>
          <ac:picMkLst>
            <pc:docMk/>
            <pc:sldMk cId="2325637886" sldId="1881838673"/>
            <ac:picMk id="8" creationId="{87AE853F-CEC8-8C91-4F65-704FE10E57B8}"/>
          </ac:picMkLst>
        </pc:picChg>
        <pc:picChg chg="mod">
          <ac:chgData name="Kiren Tarrech D Souza" userId="faf9d855-04fe-4991-b067-cd0707ae14e1" providerId="ADAL" clId="{9654125D-50A4-49C0-891A-788B118DD10E}" dt="2025-09-25T14:53:55.773" v="184" actId="14100"/>
          <ac:picMkLst>
            <pc:docMk/>
            <pc:sldMk cId="2325637886" sldId="1881838673"/>
            <ac:picMk id="16" creationId="{9A53B36D-2DC0-07BF-0159-47EE7B68158C}"/>
          </ac:picMkLst>
        </pc:picChg>
      </pc:sldChg>
      <pc:sldChg chg="addSp delSp modSp new mod ord">
        <pc:chgData name="Kiren Tarrech D Souza" userId="faf9d855-04fe-4991-b067-cd0707ae14e1" providerId="ADAL" clId="{9654125D-50A4-49C0-891A-788B118DD10E}" dt="2025-09-25T15:19:43.174" v="295" actId="1037"/>
        <pc:sldMkLst>
          <pc:docMk/>
          <pc:sldMk cId="2712020807" sldId="1881838675"/>
        </pc:sldMkLst>
        <pc:spChg chg="mod">
          <ac:chgData name="Kiren Tarrech D Souza" userId="faf9d855-04fe-4991-b067-cd0707ae14e1" providerId="ADAL" clId="{9654125D-50A4-49C0-891A-788B118DD10E}" dt="2025-09-25T14:37:03.165" v="100"/>
          <ac:spMkLst>
            <pc:docMk/>
            <pc:sldMk cId="2712020807" sldId="1881838675"/>
            <ac:spMk id="2" creationId="{CB9EC7E6-37AD-D7DA-1AEC-AEEAEE2F750C}"/>
          </ac:spMkLst>
        </pc:spChg>
        <pc:spChg chg="del">
          <ac:chgData name="Kiren Tarrech D Souza" userId="faf9d855-04fe-4991-b067-cd0707ae14e1" providerId="ADAL" clId="{9654125D-50A4-49C0-891A-788B118DD10E}" dt="2025-09-25T14:38:23.085" v="143" actId="478"/>
          <ac:spMkLst>
            <pc:docMk/>
            <pc:sldMk cId="2712020807" sldId="1881838675"/>
            <ac:spMk id="3" creationId="{7C836507-D5E3-9CAF-5AA6-5821DEA9BA10}"/>
          </ac:spMkLst>
        </pc:spChg>
        <pc:spChg chg="del">
          <ac:chgData name="Kiren Tarrech D Souza" userId="faf9d855-04fe-4991-b067-cd0707ae14e1" providerId="ADAL" clId="{9654125D-50A4-49C0-891A-788B118DD10E}" dt="2025-09-25T14:36:57.871" v="99" actId="478"/>
          <ac:spMkLst>
            <pc:docMk/>
            <pc:sldMk cId="2712020807" sldId="1881838675"/>
            <ac:spMk id="5" creationId="{DA1E8828-A7FA-D232-C536-467A85D53FA7}"/>
          </ac:spMkLst>
        </pc:spChg>
        <pc:grpChg chg="del mod">
          <ac:chgData name="Kiren Tarrech D Souza" userId="faf9d855-04fe-4991-b067-cd0707ae14e1" providerId="ADAL" clId="{9654125D-50A4-49C0-891A-788B118DD10E}" dt="2025-09-25T15:16:08.347" v="276" actId="165"/>
          <ac:grpSpMkLst>
            <pc:docMk/>
            <pc:sldMk cId="2712020807" sldId="1881838675"/>
            <ac:grpSpMk id="6" creationId="{EB37F52C-3D18-FCE2-D001-05EAB276F1B0}"/>
          </ac:grpSpMkLst>
        </pc:grpChg>
        <pc:grpChg chg="add mod">
          <ac:chgData name="Kiren Tarrech D Souza" userId="faf9d855-04fe-4991-b067-cd0707ae14e1" providerId="ADAL" clId="{9654125D-50A4-49C0-891A-788B118DD10E}" dt="2025-09-25T15:19:43.174" v="295" actId="1037"/>
          <ac:grpSpMkLst>
            <pc:docMk/>
            <pc:sldMk cId="2712020807" sldId="1881838675"/>
            <ac:grpSpMk id="16" creationId="{D4D70A38-9725-676D-FE9F-AC7D6BCBD02D}"/>
          </ac:grpSpMkLst>
        </pc:grpChg>
        <pc:picChg chg="add del mod">
          <ac:chgData name="Kiren Tarrech D Souza" userId="faf9d855-04fe-4991-b067-cd0707ae14e1" providerId="ADAL" clId="{9654125D-50A4-49C0-891A-788B118DD10E}" dt="2025-09-25T14:39:39.850" v="150" actId="478"/>
          <ac:picMkLst>
            <pc:docMk/>
            <pc:sldMk cId="2712020807" sldId="1881838675"/>
            <ac:picMk id="7" creationId="{14309237-0F20-1463-17BA-94466B3934CE}"/>
          </ac:picMkLst>
        </pc:picChg>
        <pc:picChg chg="add mod topLvl">
          <ac:chgData name="Kiren Tarrech D Souza" userId="faf9d855-04fe-4991-b067-cd0707ae14e1" providerId="ADAL" clId="{9654125D-50A4-49C0-891A-788B118DD10E}" dt="2025-09-25T15:16:39.526" v="288" actId="164"/>
          <ac:picMkLst>
            <pc:docMk/>
            <pc:sldMk cId="2712020807" sldId="1881838675"/>
            <ac:picMk id="9" creationId="{2A156C8F-3457-C26A-2A49-1782A9B41216}"/>
          </ac:picMkLst>
        </pc:picChg>
        <pc:picChg chg="add mod topLvl">
          <ac:chgData name="Kiren Tarrech D Souza" userId="faf9d855-04fe-4991-b067-cd0707ae14e1" providerId="ADAL" clId="{9654125D-50A4-49C0-891A-788B118DD10E}" dt="2025-09-25T15:16:39.526" v="288" actId="164"/>
          <ac:picMkLst>
            <pc:docMk/>
            <pc:sldMk cId="2712020807" sldId="1881838675"/>
            <ac:picMk id="11" creationId="{2AEF4569-1C83-3ED0-078F-D8644FEE14B4}"/>
          </ac:picMkLst>
        </pc:picChg>
        <pc:picChg chg="add mod topLvl">
          <ac:chgData name="Kiren Tarrech D Souza" userId="faf9d855-04fe-4991-b067-cd0707ae14e1" providerId="ADAL" clId="{9654125D-50A4-49C0-891A-788B118DD10E}" dt="2025-09-25T15:16:39.526" v="288" actId="164"/>
          <ac:picMkLst>
            <pc:docMk/>
            <pc:sldMk cId="2712020807" sldId="1881838675"/>
            <ac:picMk id="13" creationId="{0D52FE95-8C3B-6863-4111-62B55F42489E}"/>
          </ac:picMkLst>
        </pc:picChg>
        <pc:picChg chg="add mod topLvl">
          <ac:chgData name="Kiren Tarrech D Souza" userId="faf9d855-04fe-4991-b067-cd0707ae14e1" providerId="ADAL" clId="{9654125D-50A4-49C0-891A-788B118DD10E}" dt="2025-09-25T15:16:39.526" v="288" actId="164"/>
          <ac:picMkLst>
            <pc:docMk/>
            <pc:sldMk cId="2712020807" sldId="1881838675"/>
            <ac:picMk id="15" creationId="{3071916E-AD2E-C361-BF5B-89FA3D5068DF}"/>
          </ac:picMkLst>
        </pc:picChg>
      </pc:sldChg>
      <pc:sldChg chg="new">
        <pc:chgData name="Kiren Tarrech D Souza" userId="faf9d855-04fe-4991-b067-cd0707ae14e1" providerId="ADAL" clId="{9654125D-50A4-49C0-891A-788B118DD10E}" dt="2025-09-25T14:33:08.591" v="71" actId="680"/>
        <pc:sldMkLst>
          <pc:docMk/>
          <pc:sldMk cId="1009458074" sldId="1881838676"/>
        </pc:sldMkLst>
      </pc:sldChg>
      <pc:sldChg chg="new del">
        <pc:chgData name="Kiren Tarrech D Souza" userId="faf9d855-04fe-4991-b067-cd0707ae14e1" providerId="ADAL" clId="{9654125D-50A4-49C0-891A-788B118DD10E}" dt="2025-09-25T14:33:28.648" v="73" actId="47"/>
        <pc:sldMkLst>
          <pc:docMk/>
          <pc:sldMk cId="908637040" sldId="1881838677"/>
        </pc:sldMkLst>
      </pc:sldChg>
    </pc:docChg>
  </pc:docChgLst>
  <pc:docChgLst>
    <pc:chgData name="Jordi Cunillera Reinal" userId="9588a3c1-fb53-4ac3-be29-58bff79ca788" providerId="ADAL" clId="{345F9FB1-91AB-47F3-B5D3-97CA4DAC03B3}"/>
    <pc:docChg chg="undo custSel addSld delSld modSld sldOrd modSection">
      <pc:chgData name="Jordi Cunillera Reinal" userId="9588a3c1-fb53-4ac3-be29-58bff79ca788" providerId="ADAL" clId="{345F9FB1-91AB-47F3-B5D3-97CA4DAC03B3}" dt="2025-09-25T15:05:17.070" v="486" actId="1582"/>
      <pc:docMkLst>
        <pc:docMk/>
      </pc:docMkLst>
      <pc:sldChg chg="addSp delSp modSp mod">
        <pc:chgData name="Jordi Cunillera Reinal" userId="9588a3c1-fb53-4ac3-be29-58bff79ca788" providerId="ADAL" clId="{345F9FB1-91AB-47F3-B5D3-97CA4DAC03B3}" dt="2025-09-25T14:40:04.584" v="409" actId="20577"/>
        <pc:sldMkLst>
          <pc:docMk/>
          <pc:sldMk cId="1749681604" sldId="4842"/>
        </pc:sldMkLst>
        <pc:spChg chg="mod">
          <ac:chgData name="Jordi Cunillera Reinal" userId="9588a3c1-fb53-4ac3-be29-58bff79ca788" providerId="ADAL" clId="{345F9FB1-91AB-47F3-B5D3-97CA4DAC03B3}" dt="2025-09-25T14:39:27.956" v="302"/>
          <ac:spMkLst>
            <pc:docMk/>
            <pc:sldMk cId="1749681604" sldId="4842"/>
            <ac:spMk id="11" creationId="{8A1E0636-2440-7B25-92D2-3D567FCF2D84}"/>
          </ac:spMkLst>
        </pc:spChg>
        <pc:spChg chg="mod">
          <ac:chgData name="Jordi Cunillera Reinal" userId="9588a3c1-fb53-4ac3-be29-58bff79ca788" providerId="ADAL" clId="{345F9FB1-91AB-47F3-B5D3-97CA4DAC03B3}" dt="2025-09-25T14:39:27.956" v="302"/>
          <ac:spMkLst>
            <pc:docMk/>
            <pc:sldMk cId="1749681604" sldId="4842"/>
            <ac:spMk id="13" creationId="{F97AA45F-B2A3-8099-DFEA-C8AFACA35C60}"/>
          </ac:spMkLst>
        </pc:spChg>
        <pc:spChg chg="mod">
          <ac:chgData name="Jordi Cunillera Reinal" userId="9588a3c1-fb53-4ac3-be29-58bff79ca788" providerId="ADAL" clId="{345F9FB1-91AB-47F3-B5D3-97CA4DAC03B3}" dt="2025-09-25T14:39:50.128" v="399"/>
          <ac:spMkLst>
            <pc:docMk/>
            <pc:sldMk cId="1749681604" sldId="4842"/>
            <ac:spMk id="16" creationId="{C063BCB3-B83D-749E-55DB-0D7356DD3216}"/>
          </ac:spMkLst>
        </pc:spChg>
        <pc:spChg chg="mod">
          <ac:chgData name="Jordi Cunillera Reinal" userId="9588a3c1-fb53-4ac3-be29-58bff79ca788" providerId="ADAL" clId="{345F9FB1-91AB-47F3-B5D3-97CA4DAC03B3}" dt="2025-09-25T14:40:04.584" v="409" actId="20577"/>
          <ac:spMkLst>
            <pc:docMk/>
            <pc:sldMk cId="1749681604" sldId="4842"/>
            <ac:spMk id="17" creationId="{45388E79-EC3A-C5C2-E269-F8C6A01C5167}"/>
          </ac:spMkLst>
        </pc:spChg>
        <pc:spChg chg="del">
          <ac:chgData name="Jordi Cunillera Reinal" userId="9588a3c1-fb53-4ac3-be29-58bff79ca788" providerId="ADAL" clId="{345F9FB1-91AB-47F3-B5D3-97CA4DAC03B3}" dt="2025-09-25T14:29:19.659" v="48" actId="478"/>
          <ac:spMkLst>
            <pc:docMk/>
            <pc:sldMk cId="1749681604" sldId="4842"/>
            <ac:spMk id="21" creationId="{F9721B7F-C39D-4F29-9067-69CE35EDF493}"/>
          </ac:spMkLst>
        </pc:spChg>
        <pc:grpChg chg="add mod">
          <ac:chgData name="Jordi Cunillera Reinal" userId="9588a3c1-fb53-4ac3-be29-58bff79ca788" providerId="ADAL" clId="{345F9FB1-91AB-47F3-B5D3-97CA4DAC03B3}" dt="2025-09-25T14:39:47.580" v="398" actId="1036"/>
          <ac:grpSpMkLst>
            <pc:docMk/>
            <pc:sldMk cId="1749681604" sldId="4842"/>
            <ac:grpSpMk id="10" creationId="{308EB20D-7A3E-C12E-388B-832E079F6791}"/>
          </ac:grpSpMkLst>
        </pc:grpChg>
        <pc:grpChg chg="add mod">
          <ac:chgData name="Jordi Cunillera Reinal" userId="9588a3c1-fb53-4ac3-be29-58bff79ca788" providerId="ADAL" clId="{345F9FB1-91AB-47F3-B5D3-97CA4DAC03B3}" dt="2025-09-25T14:39:57.827" v="400" actId="1076"/>
          <ac:grpSpMkLst>
            <pc:docMk/>
            <pc:sldMk cId="1749681604" sldId="4842"/>
            <ac:grpSpMk id="15" creationId="{241227D9-10E6-DE88-28A9-248A7B19802F}"/>
          </ac:grpSpMkLst>
        </pc:grpChg>
        <pc:picChg chg="add mod">
          <ac:chgData name="Jordi Cunillera Reinal" userId="9588a3c1-fb53-4ac3-be29-58bff79ca788" providerId="ADAL" clId="{345F9FB1-91AB-47F3-B5D3-97CA4DAC03B3}" dt="2025-09-25T14:39:31.608" v="328" actId="1037"/>
          <ac:picMkLst>
            <pc:docMk/>
            <pc:sldMk cId="1749681604" sldId="4842"/>
            <ac:picMk id="5" creationId="{009C0770-6C61-835C-3AA1-C14DE7449AF2}"/>
          </ac:picMkLst>
        </pc:picChg>
        <pc:picChg chg="add mod">
          <ac:chgData name="Jordi Cunillera Reinal" userId="9588a3c1-fb53-4ac3-be29-58bff79ca788" providerId="ADAL" clId="{345F9FB1-91AB-47F3-B5D3-97CA4DAC03B3}" dt="2025-09-25T14:39:31.608" v="328" actId="1037"/>
          <ac:picMkLst>
            <pc:docMk/>
            <pc:sldMk cId="1749681604" sldId="4842"/>
            <ac:picMk id="8" creationId="{CAFA47E8-0C51-F821-FC54-45CFA8713953}"/>
          </ac:picMkLst>
        </pc:picChg>
        <pc:cxnChg chg="add del mod">
          <ac:chgData name="Jordi Cunillera Reinal" userId="9588a3c1-fb53-4ac3-be29-58bff79ca788" providerId="ADAL" clId="{345F9FB1-91AB-47F3-B5D3-97CA4DAC03B3}" dt="2025-09-25T14:39:42.709" v="381" actId="478"/>
          <ac:cxnSpMkLst>
            <pc:docMk/>
            <pc:sldMk cId="1749681604" sldId="4842"/>
            <ac:cxnSpMk id="14" creationId="{CEDA7D74-A87F-E393-CDC2-AFC842BF21F1}"/>
          </ac:cxnSpMkLst>
        </pc:cxnChg>
      </pc:sldChg>
      <pc:sldChg chg="modSp mod">
        <pc:chgData name="Jordi Cunillera Reinal" userId="9588a3c1-fb53-4ac3-be29-58bff79ca788" providerId="ADAL" clId="{345F9FB1-91AB-47F3-B5D3-97CA4DAC03B3}" dt="2025-09-25T14:29:46.276" v="71" actId="20577"/>
        <pc:sldMkLst>
          <pc:docMk/>
          <pc:sldMk cId="872802586" sldId="1881838661"/>
        </pc:sldMkLst>
        <pc:spChg chg="mod">
          <ac:chgData name="Jordi Cunillera Reinal" userId="9588a3c1-fb53-4ac3-be29-58bff79ca788" providerId="ADAL" clId="{345F9FB1-91AB-47F3-B5D3-97CA4DAC03B3}" dt="2025-09-25T14:29:46.276" v="71" actId="20577"/>
          <ac:spMkLst>
            <pc:docMk/>
            <pc:sldMk cId="872802586" sldId="1881838661"/>
            <ac:spMk id="4" creationId="{499AF767-8CB0-373A-06B0-0BB5A8101664}"/>
          </ac:spMkLst>
        </pc:spChg>
      </pc:sldChg>
      <pc:sldChg chg="addSp delSp modSp mod ord modShow">
        <pc:chgData name="Jordi Cunillera Reinal" userId="9588a3c1-fb53-4ac3-be29-58bff79ca788" providerId="ADAL" clId="{345F9FB1-91AB-47F3-B5D3-97CA4DAC03B3}" dt="2025-09-25T14:40:15.425" v="411"/>
        <pc:sldMkLst>
          <pc:docMk/>
          <pc:sldMk cId="25113808" sldId="1881838662"/>
        </pc:sldMkLst>
        <pc:spChg chg="mod">
          <ac:chgData name="Jordi Cunillera Reinal" userId="9588a3c1-fb53-4ac3-be29-58bff79ca788" providerId="ADAL" clId="{345F9FB1-91AB-47F3-B5D3-97CA4DAC03B3}" dt="2025-09-25T14:22:29.211" v="6" actId="20577"/>
          <ac:spMkLst>
            <pc:docMk/>
            <pc:sldMk cId="25113808" sldId="1881838662"/>
            <ac:spMk id="6" creationId="{2A11A355-7438-4F0D-6235-7608D9663C01}"/>
          </ac:spMkLst>
        </pc:spChg>
        <pc:spChg chg="add mod">
          <ac:chgData name="Jordi Cunillera Reinal" userId="9588a3c1-fb53-4ac3-be29-58bff79ca788" providerId="ADAL" clId="{345F9FB1-91AB-47F3-B5D3-97CA4DAC03B3}" dt="2025-09-25T14:34:23.048" v="98" actId="207"/>
          <ac:spMkLst>
            <pc:docMk/>
            <pc:sldMk cId="25113808" sldId="1881838662"/>
            <ac:spMk id="15" creationId="{FC99659B-7F58-ACF7-8E94-7AE05F321816}"/>
          </ac:spMkLst>
        </pc:spChg>
        <pc:spChg chg="add mod">
          <ac:chgData name="Jordi Cunillera Reinal" userId="9588a3c1-fb53-4ac3-be29-58bff79ca788" providerId="ADAL" clId="{345F9FB1-91AB-47F3-B5D3-97CA4DAC03B3}" dt="2025-09-25T14:34:49.654" v="234" actId="1076"/>
          <ac:spMkLst>
            <pc:docMk/>
            <pc:sldMk cId="25113808" sldId="1881838662"/>
            <ac:spMk id="17" creationId="{7B02D976-C86F-92C5-9445-FD51834F4CB9}"/>
          </ac:spMkLst>
        </pc:spChg>
        <pc:spChg chg="add mod">
          <ac:chgData name="Jordi Cunillera Reinal" userId="9588a3c1-fb53-4ac3-be29-58bff79ca788" providerId="ADAL" clId="{345F9FB1-91AB-47F3-B5D3-97CA4DAC03B3}" dt="2025-09-25T14:37:20.459" v="255" actId="242"/>
          <ac:spMkLst>
            <pc:docMk/>
            <pc:sldMk cId="25113808" sldId="1881838662"/>
            <ac:spMk id="18" creationId="{EBC832E5-D2DB-8EB7-837F-4FBDBD8EA3FE}"/>
          </ac:spMkLst>
        </pc:spChg>
        <pc:spChg chg="add mod">
          <ac:chgData name="Jordi Cunillera Reinal" userId="9588a3c1-fb53-4ac3-be29-58bff79ca788" providerId="ADAL" clId="{345F9FB1-91AB-47F3-B5D3-97CA4DAC03B3}" dt="2025-09-25T14:37:29.543" v="269" actId="20577"/>
          <ac:spMkLst>
            <pc:docMk/>
            <pc:sldMk cId="25113808" sldId="1881838662"/>
            <ac:spMk id="19" creationId="{93696EAD-5DC4-5B3E-4AAA-C0F3FD84FFDB}"/>
          </ac:spMkLst>
        </pc:spChg>
        <pc:spChg chg="add mod">
          <ac:chgData name="Jordi Cunillera Reinal" userId="9588a3c1-fb53-4ac3-be29-58bff79ca788" providerId="ADAL" clId="{345F9FB1-91AB-47F3-B5D3-97CA4DAC03B3}" dt="2025-09-25T14:38:36.083" v="301" actId="20577"/>
          <ac:spMkLst>
            <pc:docMk/>
            <pc:sldMk cId="25113808" sldId="1881838662"/>
            <ac:spMk id="20" creationId="{79EFA777-1933-8986-4574-9A8A38CC5261}"/>
          </ac:spMkLst>
        </pc:spChg>
        <pc:spChg chg="add mod">
          <ac:chgData name="Jordi Cunillera Reinal" userId="9588a3c1-fb53-4ac3-be29-58bff79ca788" providerId="ADAL" clId="{345F9FB1-91AB-47F3-B5D3-97CA4DAC03B3}" dt="2025-09-25T14:38:09.131" v="290" actId="20577"/>
          <ac:spMkLst>
            <pc:docMk/>
            <pc:sldMk cId="25113808" sldId="1881838662"/>
            <ac:spMk id="21" creationId="{6DA06C4D-AE40-F3DB-522B-3EF65DE7B24D}"/>
          </ac:spMkLst>
        </pc:spChg>
        <pc:graphicFrameChg chg="add mod">
          <ac:chgData name="Jordi Cunillera Reinal" userId="9588a3c1-fb53-4ac3-be29-58bff79ca788" providerId="ADAL" clId="{345F9FB1-91AB-47F3-B5D3-97CA4DAC03B3}" dt="2025-09-25T14:32:45.406" v="81"/>
          <ac:graphicFrameMkLst>
            <pc:docMk/>
            <pc:sldMk cId="25113808" sldId="1881838662"/>
            <ac:graphicFrameMk id="10" creationId="{5B4E0F4C-8250-40E0-9337-0DA463923D23}"/>
          </ac:graphicFrameMkLst>
        </pc:graphicFrameChg>
        <pc:picChg chg="del">
          <ac:chgData name="Jordi Cunillera Reinal" userId="9588a3c1-fb53-4ac3-be29-58bff79ca788" providerId="ADAL" clId="{345F9FB1-91AB-47F3-B5D3-97CA4DAC03B3}" dt="2025-09-25T14:25:55.784" v="25" actId="478"/>
          <ac:picMkLst>
            <pc:docMk/>
            <pc:sldMk cId="25113808" sldId="1881838662"/>
            <ac:picMk id="5" creationId="{27982264-8F1F-1D1B-20BC-E4848C040BE6}"/>
          </ac:picMkLst>
        </pc:picChg>
        <pc:picChg chg="add del mod">
          <ac:chgData name="Jordi Cunillera Reinal" userId="9588a3c1-fb53-4ac3-be29-58bff79ca788" providerId="ADAL" clId="{345F9FB1-91AB-47F3-B5D3-97CA4DAC03B3}" dt="2025-09-25T14:33:57.661" v="91" actId="478"/>
          <ac:picMkLst>
            <pc:docMk/>
            <pc:sldMk cId="25113808" sldId="1881838662"/>
            <ac:picMk id="7" creationId="{A9E961B0-9665-AEFC-6924-496DD45FFF20}"/>
          </ac:picMkLst>
        </pc:picChg>
        <pc:picChg chg="del">
          <ac:chgData name="Jordi Cunillera Reinal" userId="9588a3c1-fb53-4ac3-be29-58bff79ca788" providerId="ADAL" clId="{345F9FB1-91AB-47F3-B5D3-97CA4DAC03B3}" dt="2025-09-25T14:25:54.658" v="23" actId="478"/>
          <ac:picMkLst>
            <pc:docMk/>
            <pc:sldMk cId="25113808" sldId="1881838662"/>
            <ac:picMk id="8" creationId="{E715DC6E-F593-98F2-43A3-5644E92D5702}"/>
          </ac:picMkLst>
        </pc:picChg>
        <pc:picChg chg="del">
          <ac:chgData name="Jordi Cunillera Reinal" userId="9588a3c1-fb53-4ac3-be29-58bff79ca788" providerId="ADAL" clId="{345F9FB1-91AB-47F3-B5D3-97CA4DAC03B3}" dt="2025-09-25T14:25:54.979" v="24" actId="478"/>
          <ac:picMkLst>
            <pc:docMk/>
            <pc:sldMk cId="25113808" sldId="1881838662"/>
            <ac:picMk id="11" creationId="{7FF24C39-A630-5549-71E3-4899E26C54A0}"/>
          </ac:picMkLst>
        </pc:picChg>
        <pc:picChg chg="add mod">
          <ac:chgData name="Jordi Cunillera Reinal" userId="9588a3c1-fb53-4ac3-be29-58bff79ca788" providerId="ADAL" clId="{345F9FB1-91AB-47F3-B5D3-97CA4DAC03B3}" dt="2025-09-25T14:34:01.348" v="92" actId="14100"/>
          <ac:picMkLst>
            <pc:docMk/>
            <pc:sldMk cId="25113808" sldId="1881838662"/>
            <ac:picMk id="13" creationId="{E93E9E6C-86E8-596F-CF55-3939C3BE0818}"/>
          </ac:picMkLst>
        </pc:picChg>
        <pc:picChg chg="del">
          <ac:chgData name="Jordi Cunillera Reinal" userId="9588a3c1-fb53-4ac3-be29-58bff79ca788" providerId="ADAL" clId="{345F9FB1-91AB-47F3-B5D3-97CA4DAC03B3}" dt="2025-09-25T14:25:56.436" v="27" actId="478"/>
          <ac:picMkLst>
            <pc:docMk/>
            <pc:sldMk cId="25113808" sldId="1881838662"/>
            <ac:picMk id="14" creationId="{301F5096-6274-F6C0-0098-DB7ADB16CBEC}"/>
          </ac:picMkLst>
        </pc:picChg>
        <pc:picChg chg="del">
          <ac:chgData name="Jordi Cunillera Reinal" userId="9588a3c1-fb53-4ac3-be29-58bff79ca788" providerId="ADAL" clId="{345F9FB1-91AB-47F3-B5D3-97CA4DAC03B3}" dt="2025-09-25T14:25:56.120" v="26" actId="478"/>
          <ac:picMkLst>
            <pc:docMk/>
            <pc:sldMk cId="25113808" sldId="1881838662"/>
            <ac:picMk id="16" creationId="{1486559B-0164-3EBC-F7F0-C6738FFD9482}"/>
          </ac:picMkLst>
        </pc:picChg>
      </pc:sldChg>
      <pc:sldChg chg="modSp mod">
        <pc:chgData name="Jordi Cunillera Reinal" userId="9588a3c1-fb53-4ac3-be29-58bff79ca788" providerId="ADAL" clId="{345F9FB1-91AB-47F3-B5D3-97CA4DAC03B3}" dt="2025-09-25T14:46:34.074" v="481" actId="1076"/>
        <pc:sldMkLst>
          <pc:docMk/>
          <pc:sldMk cId="3107974291" sldId="1881838664"/>
        </pc:sldMkLst>
        <pc:picChg chg="mod modCrop">
          <ac:chgData name="Jordi Cunillera Reinal" userId="9588a3c1-fb53-4ac3-be29-58bff79ca788" providerId="ADAL" clId="{345F9FB1-91AB-47F3-B5D3-97CA4DAC03B3}" dt="2025-09-25T14:46:30.418" v="479" actId="1076"/>
          <ac:picMkLst>
            <pc:docMk/>
            <pc:sldMk cId="3107974291" sldId="1881838664"/>
            <ac:picMk id="5" creationId="{FFEF81B4-B069-8496-F46D-C2F9687CB601}"/>
          </ac:picMkLst>
        </pc:picChg>
        <pc:picChg chg="mod">
          <ac:chgData name="Jordi Cunillera Reinal" userId="9588a3c1-fb53-4ac3-be29-58bff79ca788" providerId="ADAL" clId="{345F9FB1-91AB-47F3-B5D3-97CA4DAC03B3}" dt="2025-09-25T14:46:11.964" v="472" actId="1076"/>
          <ac:picMkLst>
            <pc:docMk/>
            <pc:sldMk cId="3107974291" sldId="1881838664"/>
            <ac:picMk id="11" creationId="{AEA2DF99-B7DB-A21F-4A7D-E3B2BD85A234}"/>
          </ac:picMkLst>
        </pc:picChg>
        <pc:picChg chg="mod">
          <ac:chgData name="Jordi Cunillera Reinal" userId="9588a3c1-fb53-4ac3-be29-58bff79ca788" providerId="ADAL" clId="{345F9FB1-91AB-47F3-B5D3-97CA4DAC03B3}" dt="2025-09-25T14:46:34.074" v="481" actId="1076"/>
          <ac:picMkLst>
            <pc:docMk/>
            <pc:sldMk cId="3107974291" sldId="1881838664"/>
            <ac:picMk id="14" creationId="{CF3D9191-8E1C-2D09-617D-B0007BAE1053}"/>
          </ac:picMkLst>
        </pc:picChg>
      </pc:sldChg>
      <pc:sldChg chg="addSp modSp mod">
        <pc:chgData name="Jordi Cunillera Reinal" userId="9588a3c1-fb53-4ac3-be29-58bff79ca788" providerId="ADAL" clId="{345F9FB1-91AB-47F3-B5D3-97CA4DAC03B3}" dt="2025-09-25T14:22:20.704" v="2" actId="20577"/>
        <pc:sldMkLst>
          <pc:docMk/>
          <pc:sldMk cId="1049116289" sldId="1881838665"/>
        </pc:sldMkLst>
        <pc:spChg chg="mod">
          <ac:chgData name="Jordi Cunillera Reinal" userId="9588a3c1-fb53-4ac3-be29-58bff79ca788" providerId="ADAL" clId="{345F9FB1-91AB-47F3-B5D3-97CA4DAC03B3}" dt="2025-09-25T14:22:20.704" v="2" actId="20577"/>
          <ac:spMkLst>
            <pc:docMk/>
            <pc:sldMk cId="1049116289" sldId="1881838665"/>
            <ac:spMk id="6" creationId="{5D366467-7375-5E68-BDE6-1D73688BD20C}"/>
          </ac:spMkLst>
        </pc:spChg>
        <pc:picChg chg="add">
          <ac:chgData name="Jordi Cunillera Reinal" userId="9588a3c1-fb53-4ac3-be29-58bff79ca788" providerId="ADAL" clId="{345F9FB1-91AB-47F3-B5D3-97CA4DAC03B3}" dt="2025-09-25T14:21:55.648" v="0" actId="22"/>
          <ac:picMkLst>
            <pc:docMk/>
            <pc:sldMk cId="1049116289" sldId="1881838665"/>
            <ac:picMk id="5" creationId="{EAA4AB55-87C7-12C5-19E3-3E2B21AECE31}"/>
          </ac:picMkLst>
        </pc:picChg>
      </pc:sldChg>
      <pc:sldChg chg="modSp mod">
        <pc:chgData name="Jordi Cunillera Reinal" userId="9588a3c1-fb53-4ac3-be29-58bff79ca788" providerId="ADAL" clId="{345F9FB1-91AB-47F3-B5D3-97CA4DAC03B3}" dt="2025-09-25T14:44:45.907" v="452" actId="27918"/>
        <pc:sldMkLst>
          <pc:docMk/>
          <pc:sldMk cId="869204736" sldId="1881838668"/>
        </pc:sldMkLst>
        <pc:spChg chg="mod">
          <ac:chgData name="Jordi Cunillera Reinal" userId="9588a3c1-fb53-4ac3-be29-58bff79ca788" providerId="ADAL" clId="{345F9FB1-91AB-47F3-B5D3-97CA4DAC03B3}" dt="2025-09-25T14:22:25.424" v="4" actId="20577"/>
          <ac:spMkLst>
            <pc:docMk/>
            <pc:sldMk cId="869204736" sldId="1881838668"/>
            <ac:spMk id="6" creationId="{9EE0E834-A0CC-D7B6-D43B-27E5625FCD45}"/>
          </ac:spMkLst>
        </pc:spChg>
        <pc:graphicFrameChg chg="mod">
          <ac:chgData name="Jordi Cunillera Reinal" userId="9588a3c1-fb53-4ac3-be29-58bff79ca788" providerId="ADAL" clId="{345F9FB1-91AB-47F3-B5D3-97CA4DAC03B3}" dt="2025-09-25T14:43:49.453" v="435" actId="404"/>
          <ac:graphicFrameMkLst>
            <pc:docMk/>
            <pc:sldMk cId="869204736" sldId="1881838668"/>
            <ac:graphicFrameMk id="4" creationId="{5A171036-8BB6-ECA0-F9F3-55FE110B4E83}"/>
          </ac:graphicFrameMkLst>
        </pc:graphicFrameChg>
        <pc:graphicFrameChg chg="mod">
          <ac:chgData name="Jordi Cunillera Reinal" userId="9588a3c1-fb53-4ac3-be29-58bff79ca788" providerId="ADAL" clId="{345F9FB1-91AB-47F3-B5D3-97CA4DAC03B3}" dt="2025-09-25T14:44:39.693" v="450" actId="403"/>
          <ac:graphicFrameMkLst>
            <pc:docMk/>
            <pc:sldMk cId="869204736" sldId="1881838668"/>
            <ac:graphicFrameMk id="5" creationId="{E24B9E71-D60B-4096-AE6B-1AEAC2DD874C}"/>
          </ac:graphicFrameMkLst>
        </pc:graphicFrameChg>
      </pc:sldChg>
      <pc:sldChg chg="delSp mod">
        <pc:chgData name="Jordi Cunillera Reinal" userId="9588a3c1-fb53-4ac3-be29-58bff79ca788" providerId="ADAL" clId="{345F9FB1-91AB-47F3-B5D3-97CA4DAC03B3}" dt="2025-09-25T14:41:14.184" v="412" actId="478"/>
        <pc:sldMkLst>
          <pc:docMk/>
          <pc:sldMk cId="3241203451" sldId="1881838670"/>
        </pc:sldMkLst>
        <pc:cxnChg chg="del">
          <ac:chgData name="Jordi Cunillera Reinal" userId="9588a3c1-fb53-4ac3-be29-58bff79ca788" providerId="ADAL" clId="{345F9FB1-91AB-47F3-B5D3-97CA4DAC03B3}" dt="2025-09-25T14:41:14.184" v="412" actId="478"/>
          <ac:cxnSpMkLst>
            <pc:docMk/>
            <pc:sldMk cId="3241203451" sldId="1881838670"/>
            <ac:cxnSpMk id="181" creationId="{085E8BD0-8266-BDB3-5106-CF91859DD23C}"/>
          </ac:cxnSpMkLst>
        </pc:cxnChg>
      </pc:sldChg>
      <pc:sldChg chg="addSp delSp modSp add mod modShow">
        <pc:chgData name="Jordi Cunillera Reinal" userId="9588a3c1-fb53-4ac3-be29-58bff79ca788" providerId="ADAL" clId="{345F9FB1-91AB-47F3-B5D3-97CA4DAC03B3}" dt="2025-09-25T14:25:35.950" v="20" actId="729"/>
        <pc:sldMkLst>
          <pc:docMk/>
          <pc:sldMk cId="4167244500" sldId="1881838672"/>
        </pc:sldMkLst>
        <pc:picChg chg="del">
          <ac:chgData name="Jordi Cunillera Reinal" userId="9588a3c1-fb53-4ac3-be29-58bff79ca788" providerId="ADAL" clId="{345F9FB1-91AB-47F3-B5D3-97CA4DAC03B3}" dt="2025-09-25T14:22:37.973" v="8" actId="478"/>
          <ac:picMkLst>
            <pc:docMk/>
            <pc:sldMk cId="4167244500" sldId="1881838672"/>
            <ac:picMk id="5" creationId="{0CCA8D2B-9450-EE43-54EF-F07AF41303A2}"/>
          </ac:picMkLst>
        </pc:picChg>
        <pc:picChg chg="add mod">
          <ac:chgData name="Jordi Cunillera Reinal" userId="9588a3c1-fb53-4ac3-be29-58bff79ca788" providerId="ADAL" clId="{345F9FB1-91AB-47F3-B5D3-97CA4DAC03B3}" dt="2025-09-25T14:23:37.979" v="18" actId="1076"/>
          <ac:picMkLst>
            <pc:docMk/>
            <pc:sldMk cId="4167244500" sldId="1881838672"/>
            <ac:picMk id="7" creationId="{7515775B-C105-A2AB-AE6E-634D7C1F107E}"/>
          </ac:picMkLst>
        </pc:picChg>
      </pc:sldChg>
      <pc:sldChg chg="add">
        <pc:chgData name="Jordi Cunillera Reinal" userId="9588a3c1-fb53-4ac3-be29-58bff79ca788" providerId="ADAL" clId="{345F9FB1-91AB-47F3-B5D3-97CA4DAC03B3}" dt="2025-09-25T14:25:42.631" v="21"/>
        <pc:sldMkLst>
          <pc:docMk/>
          <pc:sldMk cId="2325637886" sldId="1881838673"/>
        </pc:sldMkLst>
      </pc:sldChg>
      <pc:sldChg chg="addSp delSp modSp add mod">
        <pc:chgData name="Jordi Cunillera Reinal" userId="9588a3c1-fb53-4ac3-be29-58bff79ca788" providerId="ADAL" clId="{345F9FB1-91AB-47F3-B5D3-97CA4DAC03B3}" dt="2025-09-25T14:28:11.062" v="47" actId="1076"/>
        <pc:sldMkLst>
          <pc:docMk/>
          <pc:sldMk cId="428680089" sldId="1881838674"/>
        </pc:sldMkLst>
        <pc:picChg chg="add mod">
          <ac:chgData name="Jordi Cunillera Reinal" userId="9588a3c1-fb53-4ac3-be29-58bff79ca788" providerId="ADAL" clId="{345F9FB1-91AB-47F3-B5D3-97CA4DAC03B3}" dt="2025-09-25T14:28:11.062" v="47" actId="1076"/>
          <ac:picMkLst>
            <pc:docMk/>
            <pc:sldMk cId="428680089" sldId="1881838674"/>
            <ac:picMk id="5" creationId="{4E611554-2F6F-0D3D-64ED-7160C4A44435}"/>
          </ac:picMkLst>
        </pc:picChg>
        <pc:picChg chg="del">
          <ac:chgData name="Jordi Cunillera Reinal" userId="9588a3c1-fb53-4ac3-be29-58bff79ca788" providerId="ADAL" clId="{345F9FB1-91AB-47F3-B5D3-97CA4DAC03B3}" dt="2025-09-25T14:28:05.720" v="43" actId="478"/>
          <ac:picMkLst>
            <pc:docMk/>
            <pc:sldMk cId="428680089" sldId="1881838674"/>
            <ac:picMk id="7" creationId="{6607F750-9511-CFD0-1CBF-19B8E07E447B}"/>
          </ac:picMkLst>
        </pc:picChg>
      </pc:sldChg>
      <pc:sldChg chg="addSp modSp mod">
        <pc:chgData name="Jordi Cunillera Reinal" userId="9588a3c1-fb53-4ac3-be29-58bff79ca788" providerId="ADAL" clId="{345F9FB1-91AB-47F3-B5D3-97CA4DAC03B3}" dt="2025-09-25T14:45:57.838" v="468" actId="14100"/>
        <pc:sldMkLst>
          <pc:docMk/>
          <pc:sldMk cId="2712020807" sldId="1881838675"/>
        </pc:sldMkLst>
        <pc:grpChg chg="add mod">
          <ac:chgData name="Jordi Cunillera Reinal" userId="9588a3c1-fb53-4ac3-be29-58bff79ca788" providerId="ADAL" clId="{345F9FB1-91AB-47F3-B5D3-97CA4DAC03B3}" dt="2025-09-25T14:45:57.838" v="468" actId="14100"/>
          <ac:grpSpMkLst>
            <pc:docMk/>
            <pc:sldMk cId="2712020807" sldId="1881838675"/>
            <ac:grpSpMk id="6" creationId="{EB37F52C-3D18-FCE2-D001-05EAB276F1B0}"/>
          </ac:grpSpMkLst>
        </pc:grpChg>
        <pc:picChg chg="mod">
          <ac:chgData name="Jordi Cunillera Reinal" userId="9588a3c1-fb53-4ac3-be29-58bff79ca788" providerId="ADAL" clId="{345F9FB1-91AB-47F3-B5D3-97CA4DAC03B3}" dt="2025-09-25T14:45:53.683" v="467" actId="164"/>
          <ac:picMkLst>
            <pc:docMk/>
            <pc:sldMk cId="2712020807" sldId="1881838675"/>
            <ac:picMk id="9" creationId="{2A156C8F-3457-C26A-2A49-1782A9B41216}"/>
          </ac:picMkLst>
        </pc:picChg>
        <pc:picChg chg="mod ord">
          <ac:chgData name="Jordi Cunillera Reinal" userId="9588a3c1-fb53-4ac3-be29-58bff79ca788" providerId="ADAL" clId="{345F9FB1-91AB-47F3-B5D3-97CA4DAC03B3}" dt="2025-09-25T14:45:53.683" v="467" actId="164"/>
          <ac:picMkLst>
            <pc:docMk/>
            <pc:sldMk cId="2712020807" sldId="1881838675"/>
            <ac:picMk id="11" creationId="{2AEF4569-1C83-3ED0-078F-D8644FEE14B4}"/>
          </ac:picMkLst>
        </pc:picChg>
        <pc:picChg chg="mod">
          <ac:chgData name="Jordi Cunillera Reinal" userId="9588a3c1-fb53-4ac3-be29-58bff79ca788" providerId="ADAL" clId="{345F9FB1-91AB-47F3-B5D3-97CA4DAC03B3}" dt="2025-09-25T14:45:53.683" v="467" actId="164"/>
          <ac:picMkLst>
            <pc:docMk/>
            <pc:sldMk cId="2712020807" sldId="1881838675"/>
            <ac:picMk id="13" creationId="{0D52FE95-8C3B-6863-4111-62B55F42489E}"/>
          </ac:picMkLst>
        </pc:picChg>
        <pc:picChg chg="mod">
          <ac:chgData name="Jordi Cunillera Reinal" userId="9588a3c1-fb53-4ac3-be29-58bff79ca788" providerId="ADAL" clId="{345F9FB1-91AB-47F3-B5D3-97CA4DAC03B3}" dt="2025-09-25T14:45:53.683" v="467" actId="164"/>
          <ac:picMkLst>
            <pc:docMk/>
            <pc:sldMk cId="2712020807" sldId="1881838675"/>
            <ac:picMk id="15" creationId="{3071916E-AD2E-C361-BF5B-89FA3D5068DF}"/>
          </ac:picMkLst>
        </pc:picChg>
      </pc:sldChg>
      <pc:sldChg chg="del">
        <pc:chgData name="Jordi Cunillera Reinal" userId="9588a3c1-fb53-4ac3-be29-58bff79ca788" providerId="ADAL" clId="{345F9FB1-91AB-47F3-B5D3-97CA4DAC03B3}" dt="2025-09-25T14:33:12.631" v="82" actId="47"/>
        <pc:sldMkLst>
          <pc:docMk/>
          <pc:sldMk cId="1009458074" sldId="1881838676"/>
        </pc:sldMkLst>
      </pc:sldChg>
      <pc:sldChg chg="add">
        <pc:chgData name="Jordi Cunillera Reinal" userId="9588a3c1-fb53-4ac3-be29-58bff79ca788" providerId="ADAL" clId="{345F9FB1-91AB-47F3-B5D3-97CA4DAC03B3}" dt="2025-09-25T14:33:14.111" v="83"/>
        <pc:sldMkLst>
          <pc:docMk/>
          <pc:sldMk cId="2304646033" sldId="1881838676"/>
        </pc:sldMkLst>
      </pc:sldChg>
      <pc:sldChg chg="addSp modSp add mod">
        <pc:chgData name="Jordi Cunillera Reinal" userId="9588a3c1-fb53-4ac3-be29-58bff79ca788" providerId="ADAL" clId="{345F9FB1-91AB-47F3-B5D3-97CA4DAC03B3}" dt="2025-09-25T15:05:17.070" v="486" actId="1582"/>
        <pc:sldMkLst>
          <pc:docMk/>
          <pc:sldMk cId="1772330692" sldId="1881838677"/>
        </pc:sldMkLst>
        <pc:spChg chg="add mod">
          <ac:chgData name="Jordi Cunillera Reinal" userId="9588a3c1-fb53-4ac3-be29-58bff79ca788" providerId="ADAL" clId="{345F9FB1-91AB-47F3-B5D3-97CA4DAC03B3}" dt="2025-09-25T15:05:17.070" v="486" actId="1582"/>
          <ac:spMkLst>
            <pc:docMk/>
            <pc:sldMk cId="1772330692" sldId="1881838677"/>
            <ac:spMk id="4" creationId="{6872052A-9FFA-71F5-EEB7-D01187F906DC}"/>
          </ac:spMkLst>
        </pc:spChg>
      </pc:sldChg>
    </pc:docChg>
  </pc:docChgLst>
  <pc:docChgLst>
    <pc:chgData name="Jacobo Domenech Agustin" userId="61653385-aed2-4090-aacd-8680af36a6e0" providerId="ADAL" clId="{E8696C2D-FC87-47CC-A9AD-4DDD29F13C82}"/>
    <pc:docChg chg="undo custSel mod addSld delSld modSld sldOrd delSection modSection">
      <pc:chgData name="Jacobo Domenech Agustin" userId="61653385-aed2-4090-aacd-8680af36a6e0" providerId="ADAL" clId="{E8696C2D-FC87-47CC-A9AD-4DDD29F13C82}" dt="2025-09-25T14:43:57.467" v="2581"/>
      <pc:docMkLst>
        <pc:docMk/>
      </pc:docMkLst>
      <pc:sldChg chg="modSp del mod">
        <pc:chgData name="Jacobo Domenech Agustin" userId="61653385-aed2-4090-aacd-8680af36a6e0" providerId="ADAL" clId="{E8696C2D-FC87-47CC-A9AD-4DDD29F13C82}" dt="2025-09-25T13:55:49.513" v="1108" actId="47"/>
        <pc:sldMkLst>
          <pc:docMk/>
          <pc:sldMk cId="3985339392" sldId="285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85339392" sldId="285"/>
            <ac:spMk id="2" creationId="{F2D126A4-4F99-4876-985E-DA5A66E6F68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85339392" sldId="285"/>
            <ac:spMk id="5" creationId="{00000000-0000-0000-0000-00000000000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85339392" sldId="285"/>
            <ac:spMk id="9" creationId="{00000000-0000-0000-0000-00000000000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85339392" sldId="285"/>
            <ac:spMk id="14" creationId="{D1EA549C-A406-402D-A7DB-25EF50332E1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85339392" sldId="285"/>
            <ac:spMk id="17" creationId="{569A22B0-1621-4B7D-BD98-C14ED8E120F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85339392" sldId="285"/>
            <ac:spMk id="18" creationId="{4CC0F0AB-66BF-49D6-9594-012C47DE392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85339392" sldId="285"/>
            <ac:spMk id="19" creationId="{ECBB1C70-99F5-409C-951D-9C475CF086F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85339392" sldId="285"/>
            <ac:spMk id="20" creationId="{F7C928AA-D9E7-4644-9B61-44749BFBDA1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85339392" sldId="285"/>
            <ac:spMk id="30" creationId="{C8D050A9-5268-4A25-91C8-8D3E0B77D56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85339392" sldId="285"/>
            <ac:spMk id="33" creationId="{23D0B077-6C41-46F4-B0DA-90CBE0F0DE26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2508756185" sldId="314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08756185" sldId="314"/>
            <ac:spMk id="8" creationId="{0514493B-D11B-421D-ABCA-2616C4001C8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08756185" sldId="314"/>
            <ac:spMk id="9" creationId="{29413918-0276-48F3-9089-4CE94C5E6F1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08756185" sldId="314"/>
            <ac:spMk id="26" creationId="{69F88535-5B94-4614-8BAC-D2A6078694A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08756185" sldId="314"/>
            <ac:spMk id="31" creationId="{E84946CD-B499-4D14-BA37-2CB3FB6FAE9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08756185" sldId="314"/>
            <ac:spMk id="33" creationId="{A8C6ABEB-142E-4269-B5F3-8A9F66ACC05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08756185" sldId="314"/>
            <ac:spMk id="50" creationId="{AD78DFAD-E327-4555-BBE2-3273B7AB342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08756185" sldId="314"/>
            <ac:spMk id="51" creationId="{36F773CD-BBC8-47CB-BC3B-E4A3CF9A725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08756185" sldId="314"/>
            <ac:spMk id="52" creationId="{F198D5A9-6084-49DD-AE17-7A89092BFBD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08756185" sldId="314"/>
            <ac:spMk id="65" creationId="{9A05ADA5-5269-40FA-B86B-D0A4541097C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08756185" sldId="314"/>
            <ac:spMk id="68" creationId="{70A8BF56-1D41-4683-94FC-45CEAC143B20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48.038" v="1100" actId="47"/>
        <pc:sldMkLst>
          <pc:docMk/>
          <pc:sldMk cId="3992609054" sldId="316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92609054" sldId="316"/>
            <ac:spMk id="3" creationId="{00000000-0000-0000-0000-00000000000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92609054" sldId="316"/>
            <ac:spMk id="4" creationId="{AC3A602B-5A9E-4DC9-BCF2-654C642C8F8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92609054" sldId="316"/>
            <ac:spMk id="11" creationId="{CD2CBE80-FAC4-4CE2-AA85-BB808466EE5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92609054" sldId="316"/>
            <ac:spMk id="15" creationId="{E9B72311-DA0A-46A7-929F-DD0E33DA974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92609054" sldId="316"/>
            <ac:spMk id="18" creationId="{988151C6-E405-4C78-B05A-437665DC0BF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92609054" sldId="316"/>
            <ac:spMk id="20" creationId="{19210126-5FD9-48D5-BD7F-B512CF0CF7F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92609054" sldId="316"/>
            <ac:spMk id="21" creationId="{A785D037-0F53-427C-85C5-CB1ED4D96E0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92609054" sldId="316"/>
            <ac:spMk id="22" creationId="{0311A920-31F9-4C63-BE81-06B1F05B904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92609054" sldId="316"/>
            <ac:spMk id="28" creationId="{7830FB15-636D-4685-A812-88F3775EABE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92609054" sldId="316"/>
            <ac:spMk id="30" creationId="{B2C20B7E-3372-4FCE-B424-90A1ED971381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2784046954" sldId="320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84046954" sldId="320"/>
            <ac:spMk id="2" creationId="{52312168-F829-445C-96F9-64F246D72A5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84046954" sldId="320"/>
            <ac:spMk id="4" creationId="{618FB9EA-4504-47F8-A4E8-74863E886E8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84046954" sldId="320"/>
            <ac:spMk id="5" creationId="{DF53DFF6-B075-4506-AFF3-D4F17D0E20C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84046954" sldId="320"/>
            <ac:spMk id="8" creationId="{3FE4833F-54D1-4EA8-9500-13CD1AA5149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84046954" sldId="320"/>
            <ac:spMk id="11" creationId="{1BE7D14C-290E-47F2-BFFA-DB7BB711CC2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84046954" sldId="320"/>
            <ac:spMk id="50" creationId="{8E7CE0A3-53A0-478B-9C4F-5D3337C6993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84046954" sldId="320"/>
            <ac:spMk id="61" creationId="{DBAC3248-8765-4E50-89C2-D11D6D72172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84046954" sldId="320"/>
            <ac:spMk id="75" creationId="{243C2C5D-9F97-45E9-8F25-A39F05E9A45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84046954" sldId="320"/>
            <ac:spMk id="77" creationId="{3A6003FD-A1A9-4857-B735-798CD039A1B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84046954" sldId="320"/>
            <ac:spMk id="78" creationId="{DBF8C845-6075-4D5C-AD4A-7FA56A38C4BC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47.255" v="1096" actId="47"/>
        <pc:sldMkLst>
          <pc:docMk/>
          <pc:sldMk cId="4073650514" sldId="362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73650514" sldId="362"/>
            <ac:spMk id="5" creationId="{BCA27EAE-C185-4E2D-9D7E-B6AB3A75EA3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73650514" sldId="362"/>
            <ac:spMk id="6" creationId="{00000000-0000-0000-0000-00000000000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73650514" sldId="362"/>
            <ac:spMk id="10" creationId="{2F4C2DBB-116E-4B97-8902-22A95351F1E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73650514" sldId="362"/>
            <ac:spMk id="11" creationId="{160E083F-866D-4209-9558-58B24FAAD28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73650514" sldId="362"/>
            <ac:spMk id="24" creationId="{1567A896-CE17-454E-962D-491EF366E51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73650514" sldId="362"/>
            <ac:spMk id="25" creationId="{F579C13F-C382-483C-868E-F427B00ADF0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73650514" sldId="362"/>
            <ac:spMk id="26" creationId="{253CD02D-F3E5-4FDC-B011-09C20D53FF4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73650514" sldId="362"/>
            <ac:spMk id="27" creationId="{A7B2F7DC-3CB8-4CB1-AEA5-E7315638223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73650514" sldId="362"/>
            <ac:spMk id="31" creationId="{610D8968-3612-4B0E-B027-EE92712F80E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73650514" sldId="362"/>
            <ac:spMk id="33" creationId="{17F52F34-F29F-44FF-A304-E5700F796CC2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7.017" v="1193" actId="47"/>
        <pc:sldMkLst>
          <pc:docMk/>
          <pc:sldMk cId="2071767190" sldId="369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71767190" sldId="369"/>
            <ac:spMk id="33" creationId="{D56AE9D5-321F-4936-BD5A-61F2CE9E08E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71767190" sldId="369"/>
            <ac:spMk id="38" creationId="{CF487E14-59B5-4C34-8FAE-C5232D9B42F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71767190" sldId="369"/>
            <ac:spMk id="47" creationId="{EC6B3642-72D0-4DBE-82B1-71E21CAD265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71767190" sldId="369"/>
            <ac:spMk id="69" creationId="{A42AC407-CF60-4117-B1A7-090DD38B582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71767190" sldId="369"/>
            <ac:spMk id="107" creationId="{5C98313F-E66C-428E-A950-5B442DF8814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71767190" sldId="369"/>
            <ac:spMk id="115" creationId="{E006FB01-8A5F-4278-893A-C0ADF0872E4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71767190" sldId="369"/>
            <ac:spMk id="233" creationId="{879D0CD0-EE63-43C6-B497-BDB1C463FF0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71767190" sldId="369"/>
            <ac:spMk id="248" creationId="{B0992B41-1D53-4051-8362-4CF8E28DB04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71767190" sldId="369"/>
            <ac:spMk id="259" creationId="{1CE49FAA-8D47-4493-9585-A9416831D9F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71767190" sldId="369"/>
            <ac:spMk id="273" creationId="{07677380-6104-43C1-913B-5C7E85C9CAD1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0.893" v="1163" actId="47"/>
        <pc:sldMkLst>
          <pc:docMk/>
          <pc:sldMk cId="3904102137" sldId="374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04102137" sldId="374"/>
            <ac:spMk id="2" creationId="{6594660F-D55A-480E-9BBE-55E6BFBD291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04102137" sldId="374"/>
            <ac:spMk id="3" creationId="{A9C93832-8DF2-4FC2-8C4E-75677813F2D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04102137" sldId="374"/>
            <ac:spMk id="7" creationId="{FF292B36-CDDE-42DF-B3C7-48C7ECE03FB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04102137" sldId="374"/>
            <ac:spMk id="8" creationId="{E6662E9C-F5E5-4FBF-9EF2-B9117C42B16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04102137" sldId="374"/>
            <ac:spMk id="10" creationId="{EAC6C82E-CFA1-4761-8F8C-155E9AAD870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04102137" sldId="374"/>
            <ac:spMk id="14" creationId="{1C7CDB52-253A-4C16-ABE3-8237D756A61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04102137" sldId="374"/>
            <ac:spMk id="15" creationId="{709CBEC8-2C69-4FD0-9966-2A1D408655A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04102137" sldId="374"/>
            <ac:spMk id="17" creationId="{E9A85AD3-6039-4C41-994F-EE236B58035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04102137" sldId="374"/>
            <ac:spMk id="18" creationId="{0AD1A06D-E248-4DAC-B0F9-71EF1B1CB27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04102137" sldId="374"/>
            <ac:spMk id="20" creationId="{9C4EEC85-9C1F-413D-82D4-64BFA7CE35F7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2.923" v="1173" actId="47"/>
        <pc:sldMkLst>
          <pc:docMk/>
          <pc:sldMk cId="1404021706" sldId="375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04021706" sldId="375"/>
            <ac:spMk id="45" creationId="{90123B9D-4862-4B09-A27E-95654377DB3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04021706" sldId="375"/>
            <ac:spMk id="48" creationId="{A6FA9EEA-7110-4C9E-8D89-0ED2646EE72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04021706" sldId="375"/>
            <ac:spMk id="49" creationId="{B270BD62-B12B-4C07-ADA4-58D75B0B2BA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04021706" sldId="375"/>
            <ac:spMk id="51" creationId="{7B494FB8-66C7-44C3-BAC3-2303C018744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04021706" sldId="375"/>
            <ac:spMk id="53" creationId="{F9D8D867-0930-4FBA-83E9-BE04FA713D0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04021706" sldId="375"/>
            <ac:spMk id="54" creationId="{DA37A94C-B2DB-451B-9714-14682D2AF95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04021706" sldId="375"/>
            <ac:spMk id="55" creationId="{064A82BC-D2D6-4AD3-AA9F-3C97D9522DC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04021706" sldId="375"/>
            <ac:spMk id="58" creationId="{0182FD55-D9A2-4241-84D1-E375892209E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04021706" sldId="375"/>
            <ac:spMk id="61" creationId="{2EA88B9D-7DD8-4FF1-85B3-6FB818A98CF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04021706" sldId="375"/>
            <ac:spMk id="63" creationId="{F1ABF2ED-3F80-4DFC-899C-8640CEB5809E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1.097" v="1164" actId="47"/>
        <pc:sldMkLst>
          <pc:docMk/>
          <pc:sldMk cId="3998151712" sldId="376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98151712" sldId="376"/>
            <ac:spMk id="2" creationId="{6594660F-D55A-480E-9BBE-55E6BFBD291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98151712" sldId="376"/>
            <ac:spMk id="3" creationId="{19794F74-683F-4BC5-9FA6-3F44B4B0351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98151712" sldId="376"/>
            <ac:spMk id="24" creationId="{4DC2ADAF-0E19-4AC1-B3C0-A91D0F30FCD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98151712" sldId="376"/>
            <ac:spMk id="25" creationId="{C17019A6-137A-4BD5-880D-1442AD42201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98151712" sldId="376"/>
            <ac:spMk id="28" creationId="{8CA5DBAE-17F8-4FA3-B2D6-7896237F41E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98151712" sldId="376"/>
            <ac:spMk id="29" creationId="{EF535746-3D09-4A10-A8B7-701FD0EC76F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98151712" sldId="376"/>
            <ac:spMk id="40" creationId="{E4F5F057-AD1E-4B05-B9DB-D43AB183F3A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98151712" sldId="376"/>
            <ac:spMk id="42" creationId="{BD912EE6-6FC7-49ED-AA8C-E56B599CF36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98151712" sldId="376"/>
            <ac:spMk id="43" creationId="{93479077-58D2-4C6D-B938-3B55813FB34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98151712" sldId="376"/>
            <ac:spMk id="46" creationId="{981B46DD-BE3E-42AC-B5A9-BE447C7ABA13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0.009" v="1159" actId="47"/>
        <pc:sldMkLst>
          <pc:docMk/>
          <pc:sldMk cId="1554233749" sldId="379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54233749" sldId="379"/>
            <ac:spMk id="2" creationId="{6D30BA4E-69F6-485B-A69F-741407E88A9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54233749" sldId="379"/>
            <ac:spMk id="3" creationId="{829E5A39-C179-41CD-B651-652D33F13A0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54233749" sldId="379"/>
            <ac:spMk id="12" creationId="{B68D052C-7F8E-404C-9C3C-E02EBC906C6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54233749" sldId="379"/>
            <ac:spMk id="34" creationId="{048E0B54-BB5C-4F31-99FB-662FECAA06A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54233749" sldId="379"/>
            <ac:spMk id="35" creationId="{ABC5E474-E2A6-4323-882F-43E4FC28A97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54233749" sldId="379"/>
            <ac:spMk id="36" creationId="{3D3A31FE-7059-479C-A998-36DF83106E7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54233749" sldId="379"/>
            <ac:spMk id="37" creationId="{881923AC-C396-4E47-B068-1513A69D9A3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54233749" sldId="379"/>
            <ac:spMk id="38" creationId="{6FD72870-4FE8-4751-8C2B-90C8F71516F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54233749" sldId="379"/>
            <ac:spMk id="39" creationId="{F9E937E8-2DEB-4C89-A27E-B88A415C55B0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0.461" v="1161" actId="47"/>
        <pc:sldMkLst>
          <pc:docMk/>
          <pc:sldMk cId="3153233345" sldId="380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53233345" sldId="380"/>
            <ac:spMk id="2" creationId="{6D30BA4E-69F6-485B-A69F-741407E88A9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53233345" sldId="380"/>
            <ac:spMk id="7" creationId="{9712C5CD-5BD6-4EBA-A021-727982802C3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53233345" sldId="380"/>
            <ac:spMk id="8" creationId="{685EB324-3306-4EF3-86C3-0619956D4E1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53233345" sldId="380"/>
            <ac:spMk id="12" creationId="{1F5065F5-CC4E-42FA-935B-A212DEFEC03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53233345" sldId="380"/>
            <ac:spMk id="13" creationId="{D3338C55-D3CD-4693-AF0D-EE9971A7451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53233345" sldId="380"/>
            <ac:spMk id="14" creationId="{93635437-D1F6-4080-B737-E0E181D3DAD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53233345" sldId="380"/>
            <ac:spMk id="21" creationId="{B3B7A376-8025-4B9C-B062-F73A8ED3F02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53233345" sldId="380"/>
            <ac:spMk id="30" creationId="{6BE65300-616F-49D2-9639-FC89E6DB119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53233345" sldId="380"/>
            <ac:spMk id="32" creationId="{F3BB8827-F4B7-40B7-BAAC-BB7E7C1205E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53233345" sldId="380"/>
            <ac:spMk id="34" creationId="{519D9FF1-303D-4A34-8616-8589213723E9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0.210" v="1160" actId="47"/>
        <pc:sldMkLst>
          <pc:docMk/>
          <pc:sldMk cId="1278694033" sldId="381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78694033" sldId="381"/>
            <ac:spMk id="2" creationId="{6D30BA4E-69F6-485B-A69F-741407E88A9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78694033" sldId="381"/>
            <ac:spMk id="3" creationId="{855C4723-09CE-43E0-B17A-9B3CD28B55B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78694033" sldId="381"/>
            <ac:spMk id="12" creationId="{EE061F8E-E634-4601-A968-D214B774076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78694033" sldId="381"/>
            <ac:spMk id="13" creationId="{3D1947D2-EAC9-4403-9191-30EF53F1AD1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78694033" sldId="381"/>
            <ac:spMk id="14" creationId="{742F0992-EEA6-496D-B3AE-F2EEDA4C7F8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78694033" sldId="381"/>
            <ac:spMk id="15" creationId="{86536B19-37AD-4538-B400-26CDC4E2090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78694033" sldId="381"/>
            <ac:spMk id="16" creationId="{B4BCC24E-91AC-4268-9229-5C43BE0C661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78694033" sldId="381"/>
            <ac:spMk id="17" creationId="{55C48386-FA62-4C4E-8291-A2A31D87F6C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78694033" sldId="381"/>
            <ac:spMk id="19" creationId="{6B3FF210-1665-4AA3-BDCA-20448AD2573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78694033" sldId="381"/>
            <ac:spMk id="22" creationId="{C81C97F7-3C15-407D-9B59-203787DF8844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2.348" v="1119" actId="47"/>
        <pc:sldMkLst>
          <pc:docMk/>
          <pc:sldMk cId="3558994130" sldId="388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58994130" sldId="388"/>
            <ac:spMk id="2" creationId="{1DA029FA-AECD-41A1-9B4A-87F20D897FB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58994130" sldId="388"/>
            <ac:spMk id="19" creationId="{8F4D86D2-644E-4CBE-A530-DA3DE57B59A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58994130" sldId="388"/>
            <ac:spMk id="21" creationId="{6AA6D885-0DE7-418F-9ACA-D1FAA2D7A63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58994130" sldId="388"/>
            <ac:spMk id="23" creationId="{796885D5-E931-4A38-8DA7-4C004C7D476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58994130" sldId="388"/>
            <ac:spMk id="25" creationId="{3F2B4576-B0B6-4870-B3E3-F0B6CD7ACAB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58994130" sldId="388"/>
            <ac:spMk id="26" creationId="{1970C054-0B8B-45B9-A6F2-78401341BAB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58994130" sldId="388"/>
            <ac:spMk id="27" creationId="{B1D79972-ABB6-4221-9A02-82330B166F5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58994130" sldId="388"/>
            <ac:spMk id="29" creationId="{DE1F8C4C-4D8B-4802-87EC-2B0127A98FB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58994130" sldId="388"/>
            <ac:spMk id="30" creationId="{B23EB21B-ED9E-4643-85BB-ED0F38DB955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58994130" sldId="388"/>
            <ac:spMk id="31" creationId="{F9569DC1-1CE6-434A-9B6E-47C4BFCC41BF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2.264" v="1170" actId="47"/>
        <pc:sldMkLst>
          <pc:docMk/>
          <pc:sldMk cId="1630092432" sldId="422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30092432" sldId="422"/>
            <ac:spMk id="14" creationId="{E40D59C7-419A-4C21-9119-157BAEEE431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30092432" sldId="422"/>
            <ac:spMk id="19" creationId="{CC409718-A2FA-4063-AC72-3417550998F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30092432" sldId="422"/>
            <ac:spMk id="26" creationId="{A43049D3-7682-42F4-9038-E5560271A78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30092432" sldId="422"/>
            <ac:spMk id="27" creationId="{F6C1F705-D2FC-49ED-A86A-A1585675C1A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30092432" sldId="422"/>
            <ac:spMk id="31" creationId="{7FCA87B6-01AA-4B12-9E42-26FABAEC5AA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30092432" sldId="422"/>
            <ac:spMk id="39" creationId="{34E2D1A0-99F0-4625-90C4-D5368107AEE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30092432" sldId="422"/>
            <ac:spMk id="61" creationId="{0358B515-E91A-430A-91F6-8F4403C7D5A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30092432" sldId="422"/>
            <ac:spMk id="64" creationId="{FE86AC9A-71AC-4492-84EE-9C9BCDF736E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30092432" sldId="422"/>
            <ac:spMk id="67" creationId="{0C58CEF9-CB2A-4E56-8825-0681E8340DD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30092432" sldId="422"/>
            <ac:spMk id="75" creationId="{FA4B097B-718A-47FD-A60D-E829D5CF8BC0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6.161" v="1139" actId="47"/>
        <pc:sldMkLst>
          <pc:docMk/>
          <pc:sldMk cId="1076081909" sldId="424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76081909" sldId="424"/>
            <ac:spMk id="2" creationId="{DB819ECD-58A9-45B4-AB2B-C000F966656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76081909" sldId="424"/>
            <ac:spMk id="3" creationId="{8346B65C-74C7-48C4-A559-D3DE4C5AC56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76081909" sldId="424"/>
            <ac:spMk id="22" creationId="{1D7C9A37-DC90-4913-8AF8-323619FDC7B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76081909" sldId="424"/>
            <ac:spMk id="31" creationId="{355B009C-FE8C-48EA-9E96-2CB00B76504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76081909" sldId="424"/>
            <ac:spMk id="32" creationId="{DC464408-5288-4618-A609-6D3894C4DA1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76081909" sldId="424"/>
            <ac:spMk id="34" creationId="{57A4C0E5-BCE2-4AB3-B856-8B4870E2B4D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76081909" sldId="424"/>
            <ac:spMk id="35" creationId="{41069C81-7F10-4416-AE4F-5A31774951B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76081909" sldId="424"/>
            <ac:spMk id="37" creationId="{61E4F7C2-28E5-4BBD-9C4E-9E1F657E845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76081909" sldId="424"/>
            <ac:spMk id="43" creationId="{72E9CE91-8ED9-4DEC-9F89-B4059FFEB0A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76081909" sldId="424"/>
            <ac:spMk id="44" creationId="{48C3F416-1C4C-4E78-9B35-E18D823D5348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6.346" v="1140" actId="47"/>
        <pc:sldMkLst>
          <pc:docMk/>
          <pc:sldMk cId="3784982112" sldId="427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84982112" sldId="427"/>
            <ac:spMk id="2" creationId="{DB819ECD-58A9-45B4-AB2B-C000F966656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84982112" sldId="427"/>
            <ac:spMk id="61" creationId="{98A59ED1-6B6C-4B35-AEAB-E9936874319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84982112" sldId="427"/>
            <ac:spMk id="63" creationId="{3643CEE0-6A60-4A1F-9DA4-02FD7A4600C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84982112" sldId="427"/>
            <ac:spMk id="72" creationId="{BC679CF0-1B74-40BB-9FFF-EE8C67336B1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84982112" sldId="427"/>
            <ac:spMk id="124" creationId="{D1F17F9F-5829-4681-A042-606080D2E75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84982112" sldId="427"/>
            <ac:spMk id="132" creationId="{72363DE2-4914-49B6-83F5-8EC6BAB89C3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84982112" sldId="427"/>
            <ac:spMk id="141" creationId="{EAE7FBAF-D2DF-4486-9265-B10AB9B487E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84982112" sldId="427"/>
            <ac:spMk id="142" creationId="{A09584A2-9D7D-4C05-8C00-69A2663943F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84982112" sldId="427"/>
            <ac:spMk id="161" creationId="{F5939001-3173-4932-BD7C-C1A5BB1FDE1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84982112" sldId="427"/>
            <ac:spMk id="229" creationId="{A80A1BBA-190E-4E60-900F-94F341DFFB52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5.629" v="1187" actId="47"/>
        <pc:sldMkLst>
          <pc:docMk/>
          <pc:sldMk cId="1158011319" sldId="432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58011319" sldId="432"/>
            <ac:spMk id="2" creationId="{E34D3D16-40A9-459B-9FE0-2998E5EE85B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58011319" sldId="432"/>
            <ac:spMk id="3" creationId="{09F6C572-13EA-4DED-9060-899A9CF7756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58011319" sldId="432"/>
            <ac:spMk id="5" creationId="{69FD7787-1DA6-406C-91F2-3D8CA59D8CA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58011319" sldId="432"/>
            <ac:spMk id="8" creationId="{39B939DF-0F66-422D-B622-B8887BCAD891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9.060" v="1154" actId="47"/>
        <pc:sldMkLst>
          <pc:docMk/>
          <pc:sldMk cId="3411398787" sldId="436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1398787" sldId="436"/>
            <ac:spMk id="14" creationId="{31A7DF4E-9DD5-4E6E-8F9F-DBC4BA5DDA6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1398787" sldId="436"/>
            <ac:spMk id="18" creationId="{D74CB2A4-ACBD-4625-B601-F7C62C47DDE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1398787" sldId="436"/>
            <ac:spMk id="25" creationId="{2BD72960-9CD1-4B5B-B8CF-8F246542740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1398787" sldId="436"/>
            <ac:spMk id="27" creationId="{5085C918-B933-4E1C-8330-9112AC23BEF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1398787" sldId="436"/>
            <ac:spMk id="28" creationId="{939D42A3-6DA3-4FDF-8072-6BC9F2ED29D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1398787" sldId="436"/>
            <ac:spMk id="29" creationId="{C73ABAF5-E81F-4964-B7FB-388509B25EB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1398787" sldId="436"/>
            <ac:spMk id="33" creationId="{8D4EE6E6-EE20-4456-A34F-3D6D3078BBD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1398787" sldId="436"/>
            <ac:spMk id="37" creationId="{E3B1655A-75C9-489C-9A3D-2F20C59CB2D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1398787" sldId="436"/>
            <ac:spMk id="39" creationId="{3A05AC30-5BDB-4769-8533-A796F2FC5AA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1398787" sldId="436"/>
            <ac:spMk id="44" creationId="{67369C69-9E41-4521-9054-73E29DF3098D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4.621" v="1132" actId="47"/>
        <pc:sldMkLst>
          <pc:docMk/>
          <pc:sldMk cId="1985555205" sldId="449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85555205" sldId="449"/>
            <ac:spMk id="3" creationId="{AB280B44-D358-4D66-86C2-C3F24A9F894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85555205" sldId="449"/>
            <ac:spMk id="6" creationId="{D66C8380-38FA-46C1-89D5-4CE85152C34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85555205" sldId="449"/>
            <ac:spMk id="16" creationId="{49A00DDC-0CB6-4471-810C-2E28E052AFE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85555205" sldId="449"/>
            <ac:spMk id="17" creationId="{A28E64E8-72D5-47EA-A81E-05E338F35A2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85555205" sldId="449"/>
            <ac:spMk id="19" creationId="{D3537221-5282-4AF0-90B7-EF9ADCF4430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85555205" sldId="449"/>
            <ac:spMk id="31" creationId="{D8831526-DFAD-40FA-BC96-F1BB9CB8A13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85555205" sldId="449"/>
            <ac:spMk id="32" creationId="{3939F59C-1913-4CC9-A1FE-FEC09255DDE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85555205" sldId="449"/>
            <ac:spMk id="33" creationId="{AD9DB994-7E80-40F6-AC30-1CA358B4AF2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85555205" sldId="449"/>
            <ac:spMk id="37" creationId="{2DBD805C-44B0-4A81-9FD5-8AFD3DFFE67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85555205" sldId="449"/>
            <ac:spMk id="54" creationId="{287D43CA-59A9-40D4-842B-3D70C82A8FE3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8.803" v="1199" actId="47"/>
        <pc:sldMkLst>
          <pc:docMk/>
          <pc:sldMk cId="469917344" sldId="450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69917344" sldId="450"/>
            <ac:spMk id="2" creationId="{57EAB35F-C8A1-414E-9865-20FD40BF574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69917344" sldId="450"/>
            <ac:spMk id="67" creationId="{4DA2C6FC-834D-4BE6-9FF0-3D446DBEC1D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69917344" sldId="450"/>
            <ac:spMk id="77" creationId="{60560445-F18C-4940-89FF-D04A93CA5CD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69917344" sldId="450"/>
            <ac:spMk id="86" creationId="{937C588F-7FCE-4E13-BED2-2279AEA554A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69917344" sldId="450"/>
            <ac:spMk id="87" creationId="{85251311-DD47-4946-89E2-804FA32AF67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69917344" sldId="450"/>
            <ac:spMk id="92" creationId="{27473723-3405-40AE-AA4D-7C654397000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69917344" sldId="450"/>
            <ac:spMk id="99" creationId="{CC69A431-54F2-43A7-96D8-84B917ED02E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69917344" sldId="450"/>
            <ac:spMk id="105" creationId="{BB15CD2B-CEDB-40D9-9EA2-7E16A03CD2D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69917344" sldId="450"/>
            <ac:spMk id="111" creationId="{51D25B12-AF8C-4461-A4AF-DD6CC000BF2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69917344" sldId="450"/>
            <ac:spMk id="114" creationId="{FBB8FBD7-9EF5-4088-A480-1FD762AD90F6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4.441" v="1181" actId="47"/>
        <pc:sldMkLst>
          <pc:docMk/>
          <pc:sldMk cId="1303692818" sldId="455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03692818" sldId="455"/>
            <ac:spMk id="2" creationId="{786C823C-3D88-4DAD-810B-4C745723F8C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03692818" sldId="455"/>
            <ac:spMk id="3" creationId="{4FF7C57F-D460-49A5-86E7-B6066EBCBA6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03692818" sldId="455"/>
            <ac:spMk id="14" creationId="{1E95D684-C0E3-4716-B516-AFC91E3D0DB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03692818" sldId="455"/>
            <ac:spMk id="15" creationId="{E24E713E-8BCF-417C-B3AF-15F10FF98AA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03692818" sldId="455"/>
            <ac:spMk id="16" creationId="{5398B69F-0EC1-424E-B9DF-5E736508B72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03692818" sldId="455"/>
            <ac:spMk id="17" creationId="{2C4A13F9-0A30-46A7-97DC-7C743FE0283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03692818" sldId="455"/>
            <ac:spMk id="35" creationId="{5B55167C-731E-4640-9296-ECE3F05DB47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03692818" sldId="455"/>
            <ac:spMk id="37" creationId="{7843B788-CD54-4DC3-80E0-E7754EF4777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03692818" sldId="455"/>
            <ac:spMk id="38" creationId="{7D8D2833-15D4-476A-BBF9-1BA53281C60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03692818" sldId="455"/>
            <ac:spMk id="40" creationId="{76C78CAD-20F9-40AB-BB03-5CFA329C12BF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4.628" v="1182" actId="47"/>
        <pc:sldMkLst>
          <pc:docMk/>
          <pc:sldMk cId="3058831578" sldId="457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58831578" sldId="457"/>
            <ac:spMk id="2" creationId="{786C823C-3D88-4DAD-810B-4C745723F8C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58831578" sldId="457"/>
            <ac:spMk id="3" creationId="{29C43F78-7444-4754-A7FB-D1D3B7571CA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58831578" sldId="457"/>
            <ac:spMk id="15" creationId="{3448AA8F-7EB5-4F7F-98F3-9687EBA033C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58831578" sldId="457"/>
            <ac:spMk id="30" creationId="{0B8D6021-6F62-4769-ADC6-780F7F1BE8C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58831578" sldId="457"/>
            <ac:spMk id="31" creationId="{82A65FFB-D4B8-409B-B4D7-B939DA3E07C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58831578" sldId="457"/>
            <ac:spMk id="32" creationId="{89FDCE63-1E51-4356-899A-1790B12A75C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58831578" sldId="457"/>
            <ac:spMk id="33" creationId="{E2549461-73AA-48C8-B729-8E6CCBEF96C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58831578" sldId="457"/>
            <ac:spMk id="35" creationId="{94E1E83B-BBFB-48F7-A7EF-F4441156145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58831578" sldId="457"/>
            <ac:spMk id="36" creationId="{31F82CAF-B53B-44DA-89BD-FF55AAB9304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58831578" sldId="457"/>
            <ac:spMk id="37" creationId="{382F30E5-F5F3-4787-863A-B09C0ED8D9DF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5.041" v="1184" actId="47"/>
        <pc:sldMkLst>
          <pc:docMk/>
          <pc:sldMk cId="137655414" sldId="458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7655414" sldId="458"/>
            <ac:spMk id="3" creationId="{5750CCB8-B873-47CE-BD0B-E404652BF6C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7655414" sldId="458"/>
            <ac:spMk id="14" creationId="{96CB06F5-9934-4DB5-BE57-60C2C2EFF48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7655414" sldId="458"/>
            <ac:spMk id="26" creationId="{7E7E4B24-B6AB-4366-9861-D0D25142F7E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7655414" sldId="458"/>
            <ac:spMk id="27" creationId="{AB84E9F4-C257-4CC7-855A-9C03947C854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7655414" sldId="458"/>
            <ac:spMk id="28" creationId="{EA7A08A6-7652-4E8B-9C14-2AE00844C3A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7655414" sldId="458"/>
            <ac:spMk id="29" creationId="{ED2C1A1A-A16F-496E-A693-869AB209B26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7655414" sldId="458"/>
            <ac:spMk id="35" creationId="{04D57921-E27B-4A98-88FE-D50C376F46D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7655414" sldId="458"/>
            <ac:spMk id="39" creationId="{68245386-F0D0-4C10-9731-9B81CCC5DD5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7655414" sldId="458"/>
            <ac:spMk id="40" creationId="{3AED93F5-E8F8-4E94-950A-13BBD9E08A0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7655414" sldId="458"/>
            <ac:spMk id="43" creationId="{A77BD3AD-4C5F-4B52-9747-3D7EC6DE7A79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4.831" v="1183" actId="47"/>
        <pc:sldMkLst>
          <pc:docMk/>
          <pc:sldMk cId="1008599046" sldId="459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08599046" sldId="459"/>
            <ac:spMk id="2" creationId="{2BC8984B-076E-4D04-9585-E7F20B3A92B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08599046" sldId="459"/>
            <ac:spMk id="46" creationId="{C0D4375E-0E80-4521-8A8A-0482BEFC4D2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08599046" sldId="459"/>
            <ac:spMk id="48" creationId="{76D084BB-920B-49A7-8DD8-3D596A95D83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08599046" sldId="459"/>
            <ac:spMk id="101" creationId="{46432DE0-4570-49D8-9BD4-01C53089A91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08599046" sldId="459"/>
            <ac:spMk id="108" creationId="{F3A2B1B5-C82F-4744-9F74-8ADAE05CE68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08599046" sldId="459"/>
            <ac:spMk id="109" creationId="{4CE51C3E-0F6F-4C22-8B60-CE71D18C253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08599046" sldId="459"/>
            <ac:spMk id="113" creationId="{FD1D67B9-B48C-4084-A81E-9283F81DCDA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08599046" sldId="459"/>
            <ac:spMk id="115" creationId="{B9D7E4D3-EF1D-430D-B4E5-626A67E59F8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08599046" sldId="459"/>
            <ac:spMk id="116" creationId="{ECAD34E7-3853-4E71-8D35-D758F8D3CDA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08599046" sldId="459"/>
            <ac:spMk id="126" creationId="{33D63F30-D2AD-42BF-982E-9CA044CEE8E6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3.093" v="1174" actId="47"/>
        <pc:sldMkLst>
          <pc:docMk/>
          <pc:sldMk cId="2099310380" sldId="461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99310380" sldId="461"/>
            <ac:spMk id="3" creationId="{80B3366D-1604-454A-A179-E3A677A5ED2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99310380" sldId="461"/>
            <ac:spMk id="37" creationId="{C89E8165-849C-4D4E-8EDE-38A4081B5DA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99310380" sldId="461"/>
            <ac:spMk id="62" creationId="{522C4DDA-6407-46AD-AB1E-7E37E8152F8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99310380" sldId="461"/>
            <ac:spMk id="63" creationId="{2008708F-FC9F-497D-A71A-5CDA684D81C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99310380" sldId="461"/>
            <ac:spMk id="72" creationId="{854A70E2-E6E4-42C9-B19B-56714EE7C90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99310380" sldId="461"/>
            <ac:spMk id="75" creationId="{F2E378E3-8957-4B16-95B8-4536306E17F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99310380" sldId="461"/>
            <ac:spMk id="77" creationId="{ACF875AC-6B82-4202-B05B-1E584427B36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99310380" sldId="461"/>
            <ac:spMk id="82" creationId="{975699C3-B563-4F0F-B800-7F753259451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99310380" sldId="461"/>
            <ac:spMk id="87" creationId="{9CF65BFE-1FB5-49F2-B4F8-3F56147654D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99310380" sldId="461"/>
            <ac:spMk id="128" creationId="{97E6195E-E968-4560-9E29-3BD877650C22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4.027" v="1179" actId="47"/>
        <pc:sldMkLst>
          <pc:docMk/>
          <pc:sldMk cId="2990949669" sldId="462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990949669" sldId="462"/>
            <ac:spMk id="2" creationId="{786C823C-3D88-4DAD-810B-4C745723F8C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990949669" sldId="462"/>
            <ac:spMk id="36" creationId="{907ADD56-1690-4F70-92DE-85C26EFBCBC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990949669" sldId="462"/>
            <ac:spMk id="37" creationId="{CE09C7F3-F72B-489F-8760-1881B5B343A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990949669" sldId="462"/>
            <ac:spMk id="38" creationId="{BF0B341F-0316-4304-8926-22A81452EEB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990949669" sldId="462"/>
            <ac:spMk id="39" creationId="{3CD4A3E4-E08E-4CD7-9586-44AA36189A4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990949669" sldId="462"/>
            <ac:spMk id="40" creationId="{9B80D28D-DDE8-4347-9178-952D8A8E8C6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990949669" sldId="462"/>
            <ac:spMk id="41" creationId="{6CFA0581-463A-4955-95CC-B613C076D21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990949669" sldId="462"/>
            <ac:spMk id="42" creationId="{1BB3D16A-0E7B-4BE2-B5A3-ABECA1EDCE1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990949669" sldId="462"/>
            <ac:spMk id="44" creationId="{81B8CB70-7E1A-43FC-9904-197F591427A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990949669" sldId="462"/>
            <ac:spMk id="45" creationId="{2D34A8D7-462F-42E3-B95A-AEC0B36C7847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4.238" v="1180" actId="47"/>
        <pc:sldMkLst>
          <pc:docMk/>
          <pc:sldMk cId="2012119569" sldId="463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12119569" sldId="463"/>
            <ac:spMk id="23" creationId="{111BEFBD-81B0-423F-80C0-01CBBB02771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12119569" sldId="463"/>
            <ac:spMk id="25" creationId="{14224C49-7B34-4B38-9BB3-6461003929F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12119569" sldId="463"/>
            <ac:spMk id="26" creationId="{F85933EA-FB51-4AA6-8EC2-1D1F6B74FC2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12119569" sldId="463"/>
            <ac:spMk id="27" creationId="{D4AE8689-6804-4E3A-AA34-5C2171A0083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12119569" sldId="463"/>
            <ac:spMk id="29" creationId="{B33C1A9F-A821-428D-82F8-AFC0D14E1F3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12119569" sldId="463"/>
            <ac:spMk id="30" creationId="{BA84BAE8-C147-42B1-9E17-DC316F9F180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12119569" sldId="463"/>
            <ac:spMk id="31" creationId="{40E58E6A-4197-47B3-90B4-433B661339F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12119569" sldId="463"/>
            <ac:spMk id="32" creationId="{2437384B-60B0-4CB4-978E-9D9ECB5CD17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12119569" sldId="463"/>
            <ac:spMk id="47" creationId="{8F9081E9-32D6-40ED-95E2-8582B368E41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12119569" sldId="463"/>
            <ac:spMk id="48" creationId="{00888965-C32A-4F1B-9D20-B83367A26577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4.910" v="1133" actId="47"/>
        <pc:sldMkLst>
          <pc:docMk/>
          <pc:sldMk cId="2975320020" sldId="470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975320020" sldId="470"/>
            <ac:spMk id="2" creationId="{80908E37-01E5-4AB7-AFB1-6F1E83E02DB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975320020" sldId="470"/>
            <ac:spMk id="3" creationId="{C43A71BE-FFCB-48E7-BD0E-D3BB5F7A1F5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975320020" sldId="470"/>
            <ac:spMk id="22" creationId="{A2900DC8-CB88-4AF8-BAE6-749782A7B9E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975320020" sldId="470"/>
            <ac:spMk id="31" creationId="{B40DC03C-1DE7-4BA7-8084-D03E52158CA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975320020" sldId="470"/>
            <ac:spMk id="34" creationId="{E70A00BE-E125-41BB-B24C-104E65059C2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975320020" sldId="470"/>
            <ac:spMk id="35" creationId="{16FA53E5-60FC-4D16-9549-2C12D26C996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975320020" sldId="470"/>
            <ac:spMk id="41" creationId="{24DA54BC-19AE-47EA-A9B9-4786C07BCA1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975320020" sldId="470"/>
            <ac:spMk id="43" creationId="{26349BF1-D6B4-4147-A7A7-1494D160745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975320020" sldId="470"/>
            <ac:spMk id="44" creationId="{88C5AB39-5E09-409B-A775-739CB54A68A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975320020" sldId="470"/>
            <ac:spMk id="45" creationId="{0A999318-52F5-47D5-A492-E326E5420F83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3.439" v="1125" actId="47"/>
        <pc:sldMkLst>
          <pc:docMk/>
          <pc:sldMk cId="3948509335" sldId="471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48509335" sldId="471"/>
            <ac:spMk id="3" creationId="{BB50408B-AD67-487A-B544-ED1FF5452A0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48509335" sldId="471"/>
            <ac:spMk id="52" creationId="{8B2FBB0B-62DE-4A40-B70F-F9E0ACE7F82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48509335" sldId="471"/>
            <ac:spMk id="54" creationId="{6913EEAF-D566-48F8-824D-DCEADD47E94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48509335" sldId="471"/>
            <ac:spMk id="68" creationId="{E169456D-046D-41B4-9B7B-5B5AA7997C9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48509335" sldId="471"/>
            <ac:spMk id="76" creationId="{0E21F924-6285-4942-B625-CC3318BE11D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48509335" sldId="471"/>
            <ac:spMk id="81" creationId="{467AE711-DFEE-4696-9965-80A1E4CAB85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48509335" sldId="471"/>
            <ac:spMk id="93" creationId="{59ADD53A-DA13-4282-97A9-424C73435AE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48509335" sldId="471"/>
            <ac:spMk id="101" creationId="{1C683F8A-5AA2-4498-AE4F-9C79F3E7BB1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48509335" sldId="471"/>
            <ac:spMk id="104" creationId="{BAF7B073-7391-489B-A7DC-8DEDCFBB81B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48509335" sldId="471"/>
            <ac:spMk id="119" creationId="{68AD2408-AFBF-45CD-BA65-77880968F6AC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3.908" v="1128" actId="47"/>
        <pc:sldMkLst>
          <pc:docMk/>
          <pc:sldMk cId="647753111" sldId="473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47753111" sldId="473"/>
            <ac:spMk id="8" creationId="{BCD51A56-376A-4B66-B542-BCE917E1EC7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47753111" sldId="473"/>
            <ac:spMk id="99" creationId="{CD8FFD22-21A0-442C-82B2-8F7C64D2B77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47753111" sldId="473"/>
            <ac:spMk id="101" creationId="{EC222FD8-9DCA-4FA1-964E-1E84C945053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47753111" sldId="473"/>
            <ac:spMk id="102" creationId="{9A474478-FFE8-4D25-8170-ED7997240E3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47753111" sldId="473"/>
            <ac:spMk id="106" creationId="{607784A8-AC54-476A-94AF-ACDA32CDD46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47753111" sldId="473"/>
            <ac:spMk id="120" creationId="{C10C282A-2366-41F4-81E6-ACA617C6BF4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47753111" sldId="473"/>
            <ac:spMk id="139" creationId="{E62A25C5-D4B5-48A5-A214-D50E1214A8E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47753111" sldId="473"/>
            <ac:spMk id="142" creationId="{AC7D5845-85E1-4C13-B80E-30D0EAF6670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47753111" sldId="473"/>
            <ac:spMk id="145" creationId="{EF9E0642-9A3A-4586-9704-DB2B86ADF3D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47753111" sldId="473"/>
            <ac:spMk id="153" creationId="{B58DFF3E-E452-4C0E-87EA-0D5573BF0AB7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5.881" v="1188" actId="47"/>
        <pc:sldMkLst>
          <pc:docMk/>
          <pc:sldMk cId="1146707920" sldId="474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6707920" sldId="474"/>
            <ac:spMk id="2" creationId="{A2FDCA5A-B815-419C-A685-8E9668F777B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6707920" sldId="474"/>
            <ac:spMk id="3" creationId="{B079CD31-908B-4B1A-9C35-3BE7E166238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6707920" sldId="474"/>
            <ac:spMk id="20" creationId="{FEB32153-F91D-4318-BE98-F02553DA095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6707920" sldId="474"/>
            <ac:spMk id="38" creationId="{A6BEE3BE-3710-46F2-8022-6DE041A617F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6707920" sldId="474"/>
            <ac:spMk id="60" creationId="{5ED25080-6A85-4624-A610-C24CBDB2378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6707920" sldId="474"/>
            <ac:spMk id="80" creationId="{C479E629-DCB4-4B8A-85B9-EEF36E5C11A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6707920" sldId="474"/>
            <ac:spMk id="84" creationId="{6D663643-D5C3-4961-A713-C97C639316C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6707920" sldId="474"/>
            <ac:spMk id="87" creationId="{6FF30D02-CCE3-4B1F-A89A-24325F53AA4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6707920" sldId="474"/>
            <ac:spMk id="88" creationId="{BE32993F-CC61-4671-8166-586E40590F4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6707920" sldId="474"/>
            <ac:spMk id="103" creationId="{020EAC55-A19D-473A-8E6A-F44B349C9062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3.257" v="1124" actId="47"/>
        <pc:sldMkLst>
          <pc:docMk/>
          <pc:sldMk cId="2384096211" sldId="477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84096211" sldId="477"/>
            <ac:spMk id="2" creationId="{676ECD43-7A44-475E-BA1F-B87186A6AA2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84096211" sldId="477"/>
            <ac:spMk id="3" creationId="{2AB54C48-1646-4A1E-8F21-D14DB945722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84096211" sldId="477"/>
            <ac:spMk id="8" creationId="{53048EC2-07B4-4E3A-BD90-A648C2D67BC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84096211" sldId="477"/>
            <ac:spMk id="16" creationId="{3346AF05-70A3-4E37-AEF7-933D1045D83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84096211" sldId="477"/>
            <ac:spMk id="18" creationId="{AC40380F-E537-4F4C-9AB9-8A921ADAC0A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84096211" sldId="477"/>
            <ac:spMk id="19" creationId="{66F66D54-EC7C-4533-BF01-124E786F893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84096211" sldId="477"/>
            <ac:spMk id="20" creationId="{C6514EBA-5706-4E9B-8CD6-D5F040CAD4D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84096211" sldId="477"/>
            <ac:spMk id="25" creationId="{EA631113-3D5F-4895-B086-92BC80FB221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84096211" sldId="477"/>
            <ac:spMk id="29" creationId="{331ADB0C-8B6C-49AE-A877-7D45F99CBA1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84096211" sldId="477"/>
            <ac:spMk id="30" creationId="{BA0BABDC-5D2E-43F3-B673-042FB37B6245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6.945" v="1143" actId="47"/>
        <pc:sldMkLst>
          <pc:docMk/>
          <pc:sldMk cId="554236927" sldId="478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54236927" sldId="478"/>
            <ac:spMk id="5" creationId="{1E03A10B-40C2-429B-A1A2-7E760590AD8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54236927" sldId="478"/>
            <ac:spMk id="26" creationId="{D06A14E4-708D-4699-8C46-DC1A8D7B5CD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54236927" sldId="478"/>
            <ac:spMk id="33" creationId="{C8B9C6D0-3688-4A30-BF0A-B21713DA779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54236927" sldId="478"/>
            <ac:spMk id="67" creationId="{333F2E6D-99C3-4FA9-992E-4C172B2504E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54236927" sldId="478"/>
            <ac:spMk id="86" creationId="{82C68C7B-CF1B-460F-85C8-E8442E45770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54236927" sldId="478"/>
            <ac:spMk id="91" creationId="{0FBBEC9B-92C5-47FB-B1E5-D2A3D7541A4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54236927" sldId="478"/>
            <ac:spMk id="98" creationId="{D675F1B9-D0FD-49EB-A95A-A210FBB6758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54236927" sldId="478"/>
            <ac:spMk id="107" creationId="{0F5361B9-B039-44F2-B258-1916C2C2A71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54236927" sldId="478"/>
            <ac:spMk id="110" creationId="{00F47003-E66A-4FE9-B8CD-28E369185F1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54236927" sldId="478"/>
            <ac:spMk id="130" creationId="{611AC382-1D68-483E-A953-A3B743FBE750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1.478" v="1166" actId="47"/>
        <pc:sldMkLst>
          <pc:docMk/>
          <pc:sldMk cId="114511390" sldId="481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511390" sldId="481"/>
            <ac:spMk id="19" creationId="{45B28593-05E0-4829-B3F4-373B010E0D6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511390" sldId="481"/>
            <ac:spMk id="37" creationId="{448AA3F9-4E5E-4DE4-B601-0F2620280F0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511390" sldId="481"/>
            <ac:spMk id="44" creationId="{FAEEEC3A-E003-40D3-B8B8-8ABCFA8BDF5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511390" sldId="481"/>
            <ac:spMk id="45" creationId="{D6003577-A9B2-4A97-B11C-3BFE7405D45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511390" sldId="481"/>
            <ac:spMk id="47" creationId="{D6C5CBD7-8C01-488B-86F1-65908E3B37B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511390" sldId="481"/>
            <ac:spMk id="48" creationId="{B2693DEA-AB99-48C0-9179-32A14C62A63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511390" sldId="481"/>
            <ac:spMk id="68" creationId="{FD027E12-7D7D-4F92-B773-73608DF0A94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511390" sldId="481"/>
            <ac:spMk id="70" creationId="{B56BA57A-7159-4E54-A496-95B3821A4ED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511390" sldId="481"/>
            <ac:spMk id="76" creationId="{3B0A0747-CFB2-4B2D-9BFA-DAC9F899DBF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511390" sldId="481"/>
            <ac:spMk id="78" creationId="{EE706EF6-4353-4B6B-B215-B6B67AF4CCF1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1.683" v="1167" actId="47"/>
        <pc:sldMkLst>
          <pc:docMk/>
          <pc:sldMk cId="3479479833" sldId="485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79479833" sldId="485"/>
            <ac:spMk id="2" creationId="{1E61E8CD-7510-464E-AD28-949DEC8032B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79479833" sldId="485"/>
            <ac:spMk id="5" creationId="{B572A0E1-4806-4138-8507-DAB13509C55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79479833" sldId="485"/>
            <ac:spMk id="9" creationId="{5A5CA4DE-5256-4F71-A848-6FFC3FB88C8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79479833" sldId="485"/>
            <ac:spMk id="10" creationId="{2C71426E-2F18-450C-ABA7-A70E519102A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79479833" sldId="485"/>
            <ac:spMk id="11" creationId="{E1B105E6-B3A8-4A17-846F-7C142565F32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79479833" sldId="485"/>
            <ac:spMk id="12" creationId="{CC38003C-54DC-4216-8BF1-F0C96EB914F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79479833" sldId="485"/>
            <ac:spMk id="14" creationId="{0BF0255C-BCD9-4E72-98BF-E8DCE45B9D7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79479833" sldId="485"/>
            <ac:spMk id="16" creationId="{55C4FD02-0D27-413F-ACE8-68EF55D8CF7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79479833" sldId="485"/>
            <ac:spMk id="17" creationId="{5E0461CF-5991-4D49-8835-D31451BDE87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79479833" sldId="485"/>
            <ac:spMk id="21" creationId="{AB7836F6-F135-4418-9F92-9C74126D52CE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1.334" v="1165" actId="47"/>
        <pc:sldMkLst>
          <pc:docMk/>
          <pc:sldMk cId="4171284247" sldId="486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71284247" sldId="486"/>
            <ac:spMk id="7" creationId="{680FB45E-9960-4936-AD06-0203F27FB33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71284247" sldId="486"/>
            <ac:spMk id="9" creationId="{808D5E20-1DF0-45E8-83C6-7585AF36672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71284247" sldId="486"/>
            <ac:spMk id="16" creationId="{5D9E1E4F-5E68-4619-BED2-5A3DF31EC29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71284247" sldId="486"/>
            <ac:spMk id="22" creationId="{3DD1E21E-206B-483D-BEB4-AC33954F75D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71284247" sldId="486"/>
            <ac:spMk id="30" creationId="{3CDDF8D9-6FAE-482F-ACE4-98BC15FA620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71284247" sldId="486"/>
            <ac:spMk id="33" creationId="{CAF2F33B-521D-4D12-89A5-8E3DA11EC13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71284247" sldId="486"/>
            <ac:spMk id="35" creationId="{968D6C46-5BD1-4A07-ACEC-45C143BFB9E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71284247" sldId="486"/>
            <ac:spMk id="37" creationId="{65EE0B36-D22F-42E9-957B-39D12EC78E8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71284247" sldId="486"/>
            <ac:spMk id="41" creationId="{F2797A44-CD73-43B2-B687-CA2F0ABDB0B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71284247" sldId="486"/>
            <ac:spMk id="46" creationId="{3E97F65D-4C47-4D8D-BBA9-D0AC4405CD05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4.278" v="1130" actId="47"/>
        <pc:sldMkLst>
          <pc:docMk/>
          <pc:sldMk cId="634105278" sldId="488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34105278" sldId="488"/>
            <ac:spMk id="9" creationId="{7ACFAC34-92F1-473C-802A-0DFA1FEF896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34105278" sldId="488"/>
            <ac:spMk id="10" creationId="{D993E090-125C-4024-93DD-6C2E9442482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34105278" sldId="488"/>
            <ac:spMk id="11" creationId="{DD95C290-FDC6-4695-BBDE-748123A01FB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34105278" sldId="488"/>
            <ac:spMk id="15" creationId="{BE340BE6-B180-469C-95A2-0364D8EC0B0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34105278" sldId="488"/>
            <ac:spMk id="17" creationId="{2875A09F-A147-43F0-9B56-976A2FB2463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34105278" sldId="488"/>
            <ac:spMk id="18" creationId="{90290B02-D754-41CA-9239-92A52C811B2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34105278" sldId="488"/>
            <ac:spMk id="19" creationId="{DE41071F-C41F-4614-8D5F-05EC9062860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34105278" sldId="488"/>
            <ac:spMk id="26" creationId="{40E3D40B-8FF7-4B1F-A3AD-851654426A7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34105278" sldId="488"/>
            <ac:spMk id="40" creationId="{541BD0F4-B202-4578-AE55-2B4B39AC36F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34105278" sldId="488"/>
            <ac:spMk id="49" creationId="{A547793D-2A0A-4A73-9209-A364AE080698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2046388323" sldId="495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46388323" sldId="495"/>
            <ac:spMk id="6" creationId="{D6047E2D-68F4-44DF-A96F-A8B13844F65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46388323" sldId="495"/>
            <ac:spMk id="7" creationId="{9EC06359-DEEE-4163-A865-C391E4C43EA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46388323" sldId="495"/>
            <ac:spMk id="8" creationId="{9C9DE30F-AE41-419E-8FA0-18A3DFD23BD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46388323" sldId="495"/>
            <ac:spMk id="23" creationId="{343F9A45-4989-4B74-9159-DDC1FC624F6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46388323" sldId="495"/>
            <ac:spMk id="24" creationId="{4A31F78A-70D0-4698-B7E4-C140A8DF366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46388323" sldId="495"/>
            <ac:spMk id="25" creationId="{9042C6F0-F815-4534-85D4-A0E02D97964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46388323" sldId="495"/>
            <ac:spMk id="26" creationId="{3AD5D01E-C8B7-4524-B147-4598C2AF996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46388323" sldId="495"/>
            <ac:spMk id="28" creationId="{5B137197-0EF8-4FE4-B36E-F0B47A5C68F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46388323" sldId="495"/>
            <ac:spMk id="33" creationId="{3C048D90-3721-4D74-9C80-0FC25FB2191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46388323" sldId="495"/>
            <ac:spMk id="34" creationId="{25163B58-67DF-461F-AFB8-08DE97630058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5.750" v="1137" actId="47"/>
        <pc:sldMkLst>
          <pc:docMk/>
          <pc:sldMk cId="288722132" sldId="496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8722132" sldId="496"/>
            <ac:spMk id="2" creationId="{9AE0D69E-370C-452E-A92E-D1E10F281BB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8722132" sldId="496"/>
            <ac:spMk id="4" creationId="{94FA4988-7FBF-46C9-BC11-BCCAFCA1A7B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8722132" sldId="496"/>
            <ac:spMk id="17" creationId="{CFBCCA40-5650-4771-842F-63074E86086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8722132" sldId="496"/>
            <ac:spMk id="28" creationId="{24859548-8C8B-404B-9C72-12CD2A0D888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8722132" sldId="496"/>
            <ac:spMk id="30" creationId="{5EF62661-58E6-4FC7-A804-BA2602A4382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8722132" sldId="496"/>
            <ac:spMk id="31" creationId="{8BEEEC14-E80D-4609-81BD-353124859F2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8722132" sldId="496"/>
            <ac:spMk id="32" creationId="{2BE30FB6-0248-41F5-9BAB-AE56ABEC7F1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8722132" sldId="496"/>
            <ac:spMk id="224" creationId="{7BB537ED-9751-46DF-A104-5446523E74B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8722132" sldId="496"/>
            <ac:spMk id="227" creationId="{2B258738-34DD-4C86-8A7F-1F321B7FBF4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8722132" sldId="496"/>
            <ac:spMk id="228" creationId="{FE942FC0-6A25-40AA-9EED-A9A2CE379924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1263138756" sldId="499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63138756" sldId="499"/>
            <ac:spMk id="27" creationId="{D359DDBF-7466-4FEA-89F0-FEEE703C081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63138756" sldId="499"/>
            <ac:spMk id="285" creationId="{A59FDB55-5396-4840-9177-030A0668139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63138756" sldId="499"/>
            <ac:spMk id="288" creationId="{5BD71ABF-65B7-4747-AE36-82BE90C9A0A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63138756" sldId="499"/>
            <ac:spMk id="290" creationId="{9A4CDEFB-2181-408F-93D7-A15D47AAB40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63138756" sldId="499"/>
            <ac:spMk id="291" creationId="{FB62C7D7-5486-4DE8-8F5B-5077CD2D928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63138756" sldId="499"/>
            <ac:spMk id="292" creationId="{BD80D302-5890-4559-B11D-512AE292C98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63138756" sldId="499"/>
            <ac:spMk id="295" creationId="{5547BAFE-0BB9-404E-8987-777E38D842E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63138756" sldId="499"/>
            <ac:spMk id="296" creationId="{13D07444-625D-4E31-8A9F-CC0AEBFCC8B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63138756" sldId="499"/>
            <ac:spMk id="297" creationId="{EFA355E0-F1CA-41AF-99FE-4F3F0316E78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63138756" sldId="499"/>
            <ac:spMk id="298" creationId="{37A91AC7-9D99-494E-86F2-5CDBD09292CE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5.930" v="1138" actId="47"/>
        <pc:sldMkLst>
          <pc:docMk/>
          <pc:sldMk cId="3753785733" sldId="508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53785733" sldId="508"/>
            <ac:spMk id="2" creationId="{027397BE-62D3-484E-B912-AF512B7AAB4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53785733" sldId="508"/>
            <ac:spMk id="74" creationId="{344409FF-8BE4-4583-A6A0-DFE44EC2081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53785733" sldId="508"/>
            <ac:spMk id="75" creationId="{7E3FAF8E-57AC-451B-8242-39CA7C83255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53785733" sldId="508"/>
            <ac:spMk id="78" creationId="{F3AE6E62-F741-4C13-BF13-8D1DA28E059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53785733" sldId="508"/>
            <ac:spMk id="83" creationId="{8F7E449B-6F1A-4E7A-ADD3-06A0436C1B0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53785733" sldId="508"/>
            <ac:spMk id="84" creationId="{1B2649D1-CC8A-435E-963B-59FAD217A64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53785733" sldId="508"/>
            <ac:spMk id="89" creationId="{2889A2A4-7725-431A-976C-36CCF1D20C7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53785733" sldId="508"/>
            <ac:spMk id="93" creationId="{69B5F2DC-A17F-46B9-AC4A-E8D0021964F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53785733" sldId="508"/>
            <ac:spMk id="94" creationId="{9213CFAF-58D8-4F4F-8B0E-E8534F6EC3A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53785733" sldId="508"/>
            <ac:spMk id="96" creationId="{FAFC3C82-4448-4165-8B48-B7F62F8E7FEF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49.865" v="1110" actId="47"/>
        <pc:sldMkLst>
          <pc:docMk/>
          <pc:sldMk cId="2863387102" sldId="509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63387102" sldId="509"/>
            <ac:spMk id="51" creationId="{EACE5D52-3B0A-493E-9B0F-A8E693F480E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63387102" sldId="509"/>
            <ac:spMk id="54" creationId="{4BB401B5-D9EF-4763-98CB-388D1C85F68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63387102" sldId="509"/>
            <ac:spMk id="73" creationId="{93310BB2-B225-45CE-BA82-142D11D0A37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63387102" sldId="509"/>
            <ac:spMk id="84" creationId="{14D633EB-C5CD-4E64-A884-5850E7D8495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63387102" sldId="509"/>
            <ac:spMk id="107" creationId="{466DA14E-596A-41CF-B11A-8B2DF60B118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63387102" sldId="509"/>
            <ac:spMk id="110" creationId="{54057FAB-6C88-483D-8643-71F18AA69C4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63387102" sldId="509"/>
            <ac:spMk id="121" creationId="{18B6D854-715B-4DB9-A38E-50F911D247C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63387102" sldId="509"/>
            <ac:spMk id="136" creationId="{EF766912-B465-4405-B029-AF662C3EDA3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63387102" sldId="509"/>
            <ac:spMk id="145" creationId="{11E3B429-C429-466A-9C3F-ED8BF931B76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63387102" sldId="509"/>
            <ac:spMk id="150" creationId="{F4ED1DA4-1E86-4082-8A80-73993571DA9C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2.712" v="1121" actId="47"/>
        <pc:sldMkLst>
          <pc:docMk/>
          <pc:sldMk cId="2441466954" sldId="513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41466954" sldId="513"/>
            <ac:spMk id="2" creationId="{01E28707-8304-4D0C-9109-297C58AF015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41466954" sldId="513"/>
            <ac:spMk id="3" creationId="{5A6E6A25-BF5B-4783-8A2F-0C67B3ED408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41466954" sldId="513"/>
            <ac:spMk id="7" creationId="{9029A5A9-908A-48B4-941A-CEAD2854246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41466954" sldId="513"/>
            <ac:spMk id="10" creationId="{4DD19DA4-92D8-4BA8-AB39-CEF6424D2B3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41466954" sldId="513"/>
            <ac:spMk id="12" creationId="{77E0317E-D415-4636-8004-DFE64295024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41466954" sldId="513"/>
            <ac:spMk id="13" creationId="{788816FC-96CD-4385-97BA-74EEDEFD490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41466954" sldId="513"/>
            <ac:spMk id="15" creationId="{58438AE8-4F6D-4E34-A5C1-C5C70A33B29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41466954" sldId="513"/>
            <ac:spMk id="17" creationId="{FBCD68B2-CC0B-4F76-BD0D-A8FC7015FD1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41466954" sldId="513"/>
            <ac:spMk id="18" creationId="{264F7C9F-3AFC-4915-9554-0CBBE9852C8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41466954" sldId="513"/>
            <ac:spMk id="22" creationId="{5A4596B1-C160-4779-A934-51414B64AD21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6.709" v="1142" actId="47"/>
        <pc:sldMkLst>
          <pc:docMk/>
          <pc:sldMk cId="1470316235" sldId="516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70316235" sldId="516"/>
            <ac:spMk id="163" creationId="{0F001095-347F-4E94-969C-F5B99FC9C05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70316235" sldId="516"/>
            <ac:spMk id="404" creationId="{F5CB5290-2A9D-4003-A03F-BFC4EBC64BB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70316235" sldId="516"/>
            <ac:spMk id="410" creationId="{3ED0EF5E-3853-4195-9B42-C79C833C223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70316235" sldId="516"/>
            <ac:spMk id="438" creationId="{DAAB4D9C-F765-4F65-B7C3-5A40A5A46F9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70316235" sldId="516"/>
            <ac:spMk id="463" creationId="{14C91450-F309-4A5E-A692-2C222854F39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70316235" sldId="516"/>
            <ac:spMk id="477" creationId="{1488DAF3-0983-4784-B490-834210F6396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70316235" sldId="516"/>
            <ac:spMk id="483" creationId="{15F887C2-5EA8-49DD-B1B9-FA4BAA2D638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70316235" sldId="516"/>
            <ac:spMk id="502" creationId="{CDD8818F-60E8-4E6B-8E70-5F264972443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70316235" sldId="516"/>
            <ac:spMk id="511" creationId="{D328F2D1-1610-4179-BC88-DF03E30377D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70316235" sldId="516"/>
            <ac:spMk id="514" creationId="{8ABF453E-1302-4080-8A78-E179C268F9B6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0:46.442" v="1076" actId="18676"/>
        <pc:sldMkLst>
          <pc:docMk/>
          <pc:sldMk cId="354074763" sldId="518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4074763" sldId="518"/>
            <ac:spMk id="8" creationId="{F48D2E5C-988F-4D14-8F06-FCEDC604E3F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4074763" sldId="518"/>
            <ac:spMk id="10" creationId="{CDFC1A6D-EFBC-4D5D-B9F4-14B3D11BAAC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4074763" sldId="518"/>
            <ac:spMk id="11" creationId="{2CBC6F2C-ADB8-4D8D-8810-EB32AE1A242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4074763" sldId="518"/>
            <ac:spMk id="13" creationId="{E1FE85EC-0C42-4CB6-8D71-EED171622D34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1685245715" sldId="520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85245715" sldId="520"/>
            <ac:spMk id="2" creationId="{A34E20CE-5897-483E-A630-9F204699345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85245715" sldId="520"/>
            <ac:spMk id="12" creationId="{BBDDB18B-2625-4E43-8094-E6CBDFB3DFA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85245715" sldId="520"/>
            <ac:spMk id="13" creationId="{FE5E334C-A7FA-4F76-8432-228394F71A7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85245715" sldId="520"/>
            <ac:spMk id="14" creationId="{1C8FB76A-17D6-4EB4-AAB5-FD8D1088D3C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85245715" sldId="520"/>
            <ac:spMk id="15" creationId="{B909E94D-7387-48FD-A3B3-E951FD519C6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85245715" sldId="520"/>
            <ac:spMk id="16" creationId="{6FF35BC9-2CB9-48C9-A036-2241D8CF9E9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85245715" sldId="520"/>
            <ac:spMk id="17" creationId="{7B83E74B-BBB5-43B7-8BC9-A8D69609078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85245715" sldId="520"/>
            <ac:spMk id="19" creationId="{F16F4617-61E8-4CF5-BAA4-A08428EC6F1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85245715" sldId="520"/>
            <ac:spMk id="44" creationId="{1123E694-A5B7-43A7-829F-621FEA2FFB0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85245715" sldId="520"/>
            <ac:spMk id="46" creationId="{696C946B-AC79-45C0-99D3-8C8A47D2CE68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5.250" v="1185" actId="47"/>
        <pc:sldMkLst>
          <pc:docMk/>
          <pc:sldMk cId="2243252830" sldId="521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43252830" sldId="521"/>
            <ac:spMk id="2" creationId="{75497191-60C2-4145-80FD-E51187DADE8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43252830" sldId="521"/>
            <ac:spMk id="3" creationId="{B44C918F-9F55-43C4-A2A7-99EE980B8F7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43252830" sldId="521"/>
            <ac:spMk id="5" creationId="{79C5DA0A-C651-44BB-9AA2-E9CFCEA12C8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43252830" sldId="521"/>
            <ac:spMk id="9" creationId="{60982EE9-DD1C-402E-BAB3-96D45DB278A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43252830" sldId="521"/>
            <ac:spMk id="10" creationId="{90F0C89B-2190-405C-BCC2-39AA5C45F1B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43252830" sldId="521"/>
            <ac:spMk id="11" creationId="{12E32189-28A2-45D4-BEE6-801556B7283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43252830" sldId="521"/>
            <ac:spMk id="12" creationId="{D85D9132-129D-4864-AFC0-19767D865AB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43252830" sldId="521"/>
            <ac:spMk id="16" creationId="{41AA2E30-5B93-4E5F-8BE5-25E288FE91C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43252830" sldId="521"/>
            <ac:spMk id="27" creationId="{EFC827D8-8E0D-4A17-A447-88A264B2D60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43252830" sldId="521"/>
            <ac:spMk id="28" creationId="{AB3A9D76-9D2F-4DAE-AA7B-B91FCFDAB11B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5.410" v="1186" actId="47"/>
        <pc:sldMkLst>
          <pc:docMk/>
          <pc:sldMk cId="807397593" sldId="523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07397593" sldId="523"/>
            <ac:spMk id="2" creationId="{B016213A-C0A0-4C19-A1FA-DA7E607CECD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07397593" sldId="523"/>
            <ac:spMk id="3" creationId="{2C7AF093-39C1-47B1-ABFE-1226DEC5CCD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07397593" sldId="523"/>
            <ac:spMk id="5" creationId="{72D9111D-80C9-4E87-BE5D-E4B56E672BF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07397593" sldId="523"/>
            <ac:spMk id="7" creationId="{01EEC1BF-EEAC-475F-ACE2-3858C8C5AF9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07397593" sldId="523"/>
            <ac:spMk id="8" creationId="{CC80A069-2B2D-4627-B46C-5B89E5F6557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07397593" sldId="523"/>
            <ac:spMk id="20" creationId="{88144F1A-9847-4A1A-B266-FA4E6DE766B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07397593" sldId="523"/>
            <ac:spMk id="21" creationId="{54513D43-146F-4A16-93B1-06050131D15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07397593" sldId="523"/>
            <ac:spMk id="22" creationId="{240AB9A3-6E0E-4EFB-BFB7-4A1C12F610A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07397593" sldId="523"/>
            <ac:spMk id="23" creationId="{18558855-A68B-4A5D-A50B-7B9AA8E2C01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07397593" sldId="523"/>
            <ac:spMk id="24" creationId="{03CCB014-2B2A-420F-AF37-13F60737B0AC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4.172" v="1129" actId="47"/>
        <pc:sldMkLst>
          <pc:docMk/>
          <pc:sldMk cId="1576047419" sldId="525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76047419" sldId="525"/>
            <ac:spMk id="3" creationId="{A0DCA919-C72A-451F-851F-B928C72ADC2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76047419" sldId="525"/>
            <ac:spMk id="6" creationId="{5CEE164E-4753-454F-A25A-AC4102C204E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76047419" sldId="525"/>
            <ac:spMk id="7" creationId="{E61C1B75-86E5-4835-A6E3-65E08265A55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76047419" sldId="525"/>
            <ac:spMk id="9" creationId="{53BD20EF-DF42-4872-B47E-6BFE56AF341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76047419" sldId="525"/>
            <ac:spMk id="10" creationId="{617ED582-15F6-4B38-B0D8-8835E2F9716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76047419" sldId="525"/>
            <ac:spMk id="11" creationId="{FFD5E885-2B58-4D9E-AD8E-2547FCD230C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76047419" sldId="525"/>
            <ac:spMk id="13" creationId="{010994DB-C1B9-4001-918C-7D3CF909E62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76047419" sldId="525"/>
            <ac:spMk id="15" creationId="{3D1123CF-686D-4996-ABC3-1F148DEBC70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76047419" sldId="525"/>
            <ac:spMk id="17" creationId="{2AB001C3-AF0C-455C-8838-5A338230B6A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76047419" sldId="525"/>
            <ac:spMk id="24" creationId="{1B9882E4-3F39-49D0-8D4C-C663DE494945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7.729" v="1196" actId="47"/>
        <pc:sldMkLst>
          <pc:docMk/>
          <pc:sldMk cId="924180748" sldId="539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24180748" sldId="539"/>
            <ac:spMk id="54" creationId="{20F02F1E-9D5F-404E-B568-9C6FB7AD298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24180748" sldId="539"/>
            <ac:spMk id="69" creationId="{F8FA08BA-6545-479E-A5E6-CBC91DA6666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24180748" sldId="539"/>
            <ac:spMk id="72" creationId="{1DE51142-88A6-4576-B59F-2B488882C9B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24180748" sldId="539"/>
            <ac:spMk id="85" creationId="{B2B6BA39-8955-49F1-8AD2-F7C1C1EE3CB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24180748" sldId="539"/>
            <ac:spMk id="87" creationId="{6E2CFA66-68AD-4438-9F28-80D7A4967EC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24180748" sldId="539"/>
            <ac:spMk id="91" creationId="{023CAF37-11B6-429E-9323-B891BA1205F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24180748" sldId="539"/>
            <ac:spMk id="112" creationId="{94746EAD-2949-47FB-9A12-DF9E244817E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24180748" sldId="539"/>
            <ac:spMk id="113" creationId="{0E79E722-243F-408B-9963-4D98505442D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24180748" sldId="539"/>
            <ac:spMk id="117" creationId="{A24A59AC-6879-4345-9E68-C39995E178B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24180748" sldId="539"/>
            <ac:spMk id="123" creationId="{F6E58641-92CD-4532-8BF0-085D0CB00FFD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3.586" v="1126" actId="47"/>
        <pc:sldMkLst>
          <pc:docMk/>
          <pc:sldMk cId="2305430430" sldId="541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05430430" sldId="541"/>
            <ac:spMk id="3" creationId="{3A279771-275C-4CCE-8B43-E4E8F33F847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05430430" sldId="541"/>
            <ac:spMk id="4" creationId="{43036D94-5902-418C-84CF-B78D6654336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05430430" sldId="541"/>
            <ac:spMk id="41" creationId="{7F90A71A-BC8E-4E27-A489-F9A3DE36E4A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05430430" sldId="541"/>
            <ac:spMk id="47" creationId="{C572E0F9-1956-4CAF-8C02-3C9FEE5F652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05430430" sldId="541"/>
            <ac:spMk id="57" creationId="{AAD6B35B-02CD-48CD-ABE2-CEB7A3FF08F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05430430" sldId="541"/>
            <ac:spMk id="65" creationId="{79AAD464-ED1D-4B66-B254-4C6E4EB378E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05430430" sldId="541"/>
            <ac:spMk id="67" creationId="{5ABBDB0D-A104-4829-B839-1ABC0E9B2FC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05430430" sldId="541"/>
            <ac:spMk id="69" creationId="{3DC4ED47-D3E4-4D05-8ABF-0142D3CB61B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05430430" sldId="541"/>
            <ac:spMk id="96" creationId="{A44270C7-9FF8-47CC-90CC-CDC1B545E25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05430430" sldId="541"/>
            <ac:spMk id="99" creationId="{3B3C4933-0D68-405E-BB26-A121817D5152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1.861" v="1168" actId="47"/>
        <pc:sldMkLst>
          <pc:docMk/>
          <pc:sldMk cId="1877239904" sldId="546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7239904" sldId="546"/>
            <ac:spMk id="2" creationId="{6C97D261-01E9-43A4-BBA3-60B0E666B72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7239904" sldId="546"/>
            <ac:spMk id="5" creationId="{E42C04B0-31D5-4A74-8D54-9DA3EDE8B38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7239904" sldId="546"/>
            <ac:spMk id="9" creationId="{494C82E6-17F5-4D55-8222-C39ECB2C208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7239904" sldId="546"/>
            <ac:spMk id="10" creationId="{278C66CE-6A39-4835-999A-9DE8347BC49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7239904" sldId="546"/>
            <ac:spMk id="11" creationId="{8AC4E729-1A92-41A6-B463-CDA06AFB688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7239904" sldId="546"/>
            <ac:spMk id="15" creationId="{F5E5B8D3-E00A-485B-BC39-B3A0AEDF73F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7239904" sldId="546"/>
            <ac:spMk id="27" creationId="{DAF85387-69C8-421E-B53F-5A19684DA3E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7239904" sldId="546"/>
            <ac:spMk id="31" creationId="{A8FEB4D4-5729-4981-B245-15A340553E1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7239904" sldId="546"/>
            <ac:spMk id="33" creationId="{96B01EBD-645E-4679-9A36-CE7431D38B6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7239904" sldId="546"/>
            <ac:spMk id="34" creationId="{D2F9D71E-5CA3-4270-BEBF-1C28C8023902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6.308" v="1190" actId="47"/>
        <pc:sldMkLst>
          <pc:docMk/>
          <pc:sldMk cId="1823466714" sldId="547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23466714" sldId="547"/>
            <ac:spMk id="46" creationId="{A0F1E785-E57B-4B8C-8DC7-2FE2988E26B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23466714" sldId="547"/>
            <ac:spMk id="50" creationId="{9B339B9B-35AC-4710-AAA2-99D34289F82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23466714" sldId="547"/>
            <ac:spMk id="52" creationId="{B0ADCF34-DFB6-4ECB-AEC4-2709C89A13E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23466714" sldId="547"/>
            <ac:spMk id="56" creationId="{BE165698-5DD5-4607-9B71-723BD428E43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23466714" sldId="547"/>
            <ac:spMk id="57" creationId="{2C9CA4ED-0F78-4005-9AD4-76356A64E60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23466714" sldId="547"/>
            <ac:spMk id="66" creationId="{4761F911-7111-4803-82CC-B710F136246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23466714" sldId="547"/>
            <ac:spMk id="67" creationId="{5FCB0BA2-4BE5-4BE2-8615-451DB9F0125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23466714" sldId="547"/>
            <ac:spMk id="70" creationId="{CB30DFE9-2153-4FB2-9EF1-AD030DEA63E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23466714" sldId="547"/>
            <ac:spMk id="73" creationId="{C19B6623-45A3-4B8C-A246-A294A9649F1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23466714" sldId="547"/>
            <ac:spMk id="79" creationId="{5C7B244C-CCBE-4368-AAE5-C99485BB1B86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5.099" v="1134" actId="47"/>
        <pc:sldMkLst>
          <pc:docMk/>
          <pc:sldMk cId="2293191575" sldId="558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93191575" sldId="558"/>
            <ac:spMk id="2" creationId="{A3AFD05B-F6D2-49E9-BC32-8A9DA157584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93191575" sldId="558"/>
            <ac:spMk id="30" creationId="{ED6E4319-A56B-43C4-8981-D563845542D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93191575" sldId="558"/>
            <ac:spMk id="48" creationId="{16FE42FF-98C0-4E45-852D-64A9672521F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93191575" sldId="558"/>
            <ac:spMk id="50" creationId="{2EB626A6-C551-4E53-8546-A04ED69D7B2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93191575" sldId="558"/>
            <ac:spMk id="52" creationId="{7CAE3BEC-20A1-4C8D-9850-F7408DFC9E6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93191575" sldId="558"/>
            <ac:spMk id="89" creationId="{6741E706-4EEF-4438-BC5D-6E3CACABA40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93191575" sldId="558"/>
            <ac:spMk id="90" creationId="{D58B6CF7-ADDF-4F58-90FF-A8996819C3D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93191575" sldId="558"/>
            <ac:spMk id="96" creationId="{0C2F1558-EEA5-438F-AFE6-98429307714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93191575" sldId="558"/>
            <ac:spMk id="97" creationId="{7F7D8A64-E5CB-4FC5-87AF-ACC855F87D2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93191575" sldId="558"/>
            <ac:spMk id="99" creationId="{1DBEF017-3464-47E9-BF8E-F883AB4C4D9A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5.320" v="1135" actId="47"/>
        <pc:sldMkLst>
          <pc:docMk/>
          <pc:sldMk cId="1895256008" sldId="559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95256008" sldId="559"/>
            <ac:spMk id="9" creationId="{41BEA058-C14B-4BA1-9570-939543756B2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95256008" sldId="559"/>
            <ac:spMk id="28" creationId="{DDE8BB0F-A08D-4485-8CC8-18CBDB0BCE7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95256008" sldId="559"/>
            <ac:spMk id="30" creationId="{1C1F37A4-2B74-44B3-92A3-8D2AF1B66F0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95256008" sldId="559"/>
            <ac:spMk id="62" creationId="{554CADA3-A11D-490E-900D-B292E1C9D84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95256008" sldId="559"/>
            <ac:spMk id="67" creationId="{B8A12DBA-EDAC-439F-838A-B6738FDA1DB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95256008" sldId="559"/>
            <ac:spMk id="70" creationId="{2331DA90-06B8-42F2-A30E-B516749D6D4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95256008" sldId="559"/>
            <ac:spMk id="71" creationId="{379506F6-2493-455A-B3D7-A3E687CA9F9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95256008" sldId="559"/>
            <ac:spMk id="73" creationId="{632765A0-F0D8-45F1-A086-1A08170321D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95256008" sldId="559"/>
            <ac:spMk id="75" creationId="{1B58F5CA-DBA8-41E7-9D95-94F414BA989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95256008" sldId="559"/>
            <ac:spMk id="76" creationId="{D72E8472-AD31-42E3-A1D5-8BC5CD2F8503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5.548" v="1136" actId="47"/>
        <pc:sldMkLst>
          <pc:docMk/>
          <pc:sldMk cId="1230763724" sldId="560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30763724" sldId="560"/>
            <ac:spMk id="2" creationId="{A3AFD05B-F6D2-49E9-BC32-8A9DA157584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30763724" sldId="560"/>
            <ac:spMk id="3" creationId="{AD43A00E-2084-42F7-A99B-635B0028E6F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30763724" sldId="560"/>
            <ac:spMk id="41" creationId="{8B1C74E0-6C5D-46AF-856A-A62D3537C90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30763724" sldId="560"/>
            <ac:spMk id="48" creationId="{4FE71E64-A060-4534-8F63-48B1EEF32F5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30763724" sldId="560"/>
            <ac:spMk id="53" creationId="{448D7A6C-9FB0-4A13-8402-1394B875E4F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30763724" sldId="560"/>
            <ac:spMk id="63" creationId="{15CA523A-794F-45E7-8595-0EAA7F8069A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30763724" sldId="560"/>
            <ac:spMk id="80" creationId="{0994525F-4A48-4D61-A788-C277E29C538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30763724" sldId="560"/>
            <ac:spMk id="83" creationId="{3D277E80-FF0B-48A1-B069-9463D175944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30763724" sldId="560"/>
            <ac:spMk id="87" creationId="{29BD5CAE-FC9A-4F1F-B36F-4C6DCACFBFE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30763724" sldId="560"/>
            <ac:spMk id="89" creationId="{D6E8FD95-25FF-47D1-B941-C2B0B107353B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2.131" v="1169" actId="47"/>
        <pc:sldMkLst>
          <pc:docMk/>
          <pc:sldMk cId="111675897" sldId="562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1675897" sldId="562"/>
            <ac:spMk id="12" creationId="{4C76AAFA-F3B4-458F-9676-7A81C81F4B1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1675897" sldId="562"/>
            <ac:spMk id="18" creationId="{B706F67D-4EBD-4C76-B74A-1DC5211A7AD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1675897" sldId="562"/>
            <ac:spMk id="27" creationId="{DEC5FC3A-7FD4-42F8-803A-459BFCA0A17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1675897" sldId="562"/>
            <ac:spMk id="29" creationId="{7DC99F21-D1B1-4AE6-872A-5E1A5E43B48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1675897" sldId="562"/>
            <ac:spMk id="30" creationId="{F6443825-A7E8-4204-BAC0-F112B7A0772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1675897" sldId="562"/>
            <ac:spMk id="35" creationId="{34D55D54-A688-4A8C-8899-C7C7300A31D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1675897" sldId="562"/>
            <ac:spMk id="63" creationId="{AB79F18E-DE92-4BD4-890E-D7486110075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1675897" sldId="562"/>
            <ac:spMk id="69" creationId="{EC457254-B4AC-4497-8A5E-BA892B36642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1675897" sldId="562"/>
            <ac:spMk id="70" creationId="{07FA9D8F-8DC8-4EFC-97F1-FA1906662CC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1675897" sldId="562"/>
            <ac:spMk id="79" creationId="{083DCFCC-00CF-44CF-8A69-126902A01018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7.893" v="1197" actId="47"/>
        <pc:sldMkLst>
          <pc:docMk/>
          <pc:sldMk cId="365057241" sldId="570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5057241" sldId="570"/>
            <ac:spMk id="39" creationId="{D0EDDF7B-ABC7-40EE-8B5F-FB085BADE9F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5057241" sldId="570"/>
            <ac:spMk id="40" creationId="{DBAECC40-2C52-4606-BBA6-43F3E413F52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5057241" sldId="570"/>
            <ac:spMk id="45" creationId="{5B6CBA78-42AC-4CBA-A847-2A5B94DA747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5057241" sldId="570"/>
            <ac:spMk id="47" creationId="{18653EFF-FA05-4E46-B81E-8DBCC90BD00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5057241" sldId="570"/>
            <ac:spMk id="48" creationId="{710A31C7-B959-4C3C-BD7F-A173654FFAD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5057241" sldId="570"/>
            <ac:spMk id="58" creationId="{ADED8B06-4A1A-46B5-99CE-E9F3E77C31B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5057241" sldId="570"/>
            <ac:spMk id="60" creationId="{8593ED3D-2042-4FF1-90F2-58988BB65F4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5057241" sldId="570"/>
            <ac:spMk id="62" creationId="{A032B395-1AB6-4FAE-9DC6-4BF07E90B16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5057241" sldId="570"/>
            <ac:spMk id="64" creationId="{6A4A37B1-4035-491E-96BD-CE2B3412E6F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5057241" sldId="570"/>
            <ac:spMk id="68" creationId="{58DB4355-FED0-46CF-98E2-63AA5511AE27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3.079" v="1123" actId="47"/>
        <pc:sldMkLst>
          <pc:docMk/>
          <pc:sldMk cId="675762792" sldId="571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75762792" sldId="571"/>
            <ac:spMk id="30" creationId="{2EC23E0E-E55F-4BC3-A042-43F345DC301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75762792" sldId="571"/>
            <ac:spMk id="57" creationId="{50B74ABC-ED35-465D-8F44-8DD8B406E6E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75762792" sldId="571"/>
            <ac:spMk id="63" creationId="{10BDE632-94E2-48BA-A513-7C8DDB1A99C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75762792" sldId="571"/>
            <ac:spMk id="65" creationId="{EB28E6A7-16D5-4851-AD0A-CF4948407D3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75762792" sldId="571"/>
            <ac:spMk id="66" creationId="{EB0624AE-1A08-48B9-A699-0E78034FE39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75762792" sldId="571"/>
            <ac:spMk id="68" creationId="{D52E1866-D744-4607-9092-ABB8BEF29F5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75762792" sldId="571"/>
            <ac:spMk id="70" creationId="{3BA3B7B5-566C-4EBF-9D57-7D7682E6DD4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75762792" sldId="571"/>
            <ac:spMk id="71" creationId="{A45EC331-AA79-4247-9835-1890825F966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75762792" sldId="571"/>
            <ac:spMk id="75" creationId="{B56D9FC3-139E-4F57-9FDE-EB4C5ED9C68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75762792" sldId="571"/>
            <ac:spMk id="81" creationId="{60FF0D40-387C-4EDC-A44D-F3A9CA3B0DD3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4.432" v="1131" actId="47"/>
        <pc:sldMkLst>
          <pc:docMk/>
          <pc:sldMk cId="272384440" sldId="578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2384440" sldId="578"/>
            <ac:spMk id="2" creationId="{793E7C79-6FCD-412F-9677-BD7288B23DA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2384440" sldId="578"/>
            <ac:spMk id="5" creationId="{7A5F6BEE-F3C8-42E1-AE7C-B9A05401DD9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2384440" sldId="578"/>
            <ac:spMk id="12" creationId="{D55831D2-3EEA-4D74-839C-86640B22F37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2384440" sldId="578"/>
            <ac:spMk id="13" creationId="{9C34650E-0316-4FEA-8074-B640B0388E9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2384440" sldId="578"/>
            <ac:spMk id="15" creationId="{8A9BCC27-423E-4F8E-8D89-94355FDA77E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2384440" sldId="578"/>
            <ac:spMk id="16" creationId="{3769D78C-695D-405B-8CA5-26B84EC3E4D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2384440" sldId="578"/>
            <ac:spMk id="19" creationId="{0D7F5335-9098-4F29-87D4-652DA4847CF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2384440" sldId="578"/>
            <ac:spMk id="24" creationId="{A6F32084-C18C-4CF8-841B-C272F0ED4BB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2384440" sldId="578"/>
            <ac:spMk id="27" creationId="{E66B103A-3D7A-41A8-BDFC-450404875B0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2384440" sldId="578"/>
            <ac:spMk id="32" creationId="{724C7A9C-195E-401C-943D-FC428750B263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6.761" v="1192" actId="47"/>
        <pc:sldMkLst>
          <pc:docMk/>
          <pc:sldMk cId="2530461249" sldId="579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30461249" sldId="579"/>
            <ac:spMk id="43" creationId="{7BE74D80-E198-424B-85E4-28869CA438C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30461249" sldId="579"/>
            <ac:spMk id="50" creationId="{E23D2647-11C4-424B-A713-D91FCB90AB5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30461249" sldId="579"/>
            <ac:spMk id="51" creationId="{59D30D76-C6EE-4561-B5EB-0B5E46DFCD7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30461249" sldId="579"/>
            <ac:spMk id="53" creationId="{AFA8AAD2-1109-48E9-8F53-4AF9AD5EC18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30461249" sldId="579"/>
            <ac:spMk id="58" creationId="{B57B4CEE-6201-4CB5-87C1-952279E81C0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30461249" sldId="579"/>
            <ac:spMk id="59" creationId="{534E8EC8-C8FD-49C5-A997-E0E1637851B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30461249" sldId="579"/>
            <ac:spMk id="66" creationId="{C23999C2-BF52-4A7A-AC8C-D0D6B5BCE01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30461249" sldId="579"/>
            <ac:spMk id="68" creationId="{D0945CDD-CD6E-49E9-A732-957FFCD31F8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30461249" sldId="579"/>
            <ac:spMk id="71" creationId="{57267838-D837-44B7-8F7B-7AEE5FAEE5A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30461249" sldId="579"/>
            <ac:spMk id="80" creationId="{E42DBFC6-CEDB-438B-A467-5910B1090B21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48.799" v="1104" actId="47"/>
        <pc:sldMkLst>
          <pc:docMk/>
          <pc:sldMk cId="1557987532" sldId="587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57987532" sldId="587"/>
            <ac:spMk id="25" creationId="{523C6436-1311-433C-B51C-5BCD527F293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57987532" sldId="587"/>
            <ac:spMk id="27" creationId="{35E9CE6D-B4C9-4F27-A93C-F565132AB76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57987532" sldId="587"/>
            <ac:spMk id="29" creationId="{70C62FC5-3008-43A1-A853-14391C67BE4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57987532" sldId="587"/>
            <ac:spMk id="32" creationId="{C001A732-5B68-41B3-8040-0F24AA06CA5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57987532" sldId="587"/>
            <ac:spMk id="34" creationId="{1C29ACD4-5CE6-45C4-B166-F6A5F6A17C6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57987532" sldId="587"/>
            <ac:spMk id="58" creationId="{3900E5AD-5C70-4DDF-AE7B-57C789BE912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57987532" sldId="587"/>
            <ac:spMk id="60" creationId="{297BB20D-4BA3-4E75-93BA-3FE3AC949FD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57987532" sldId="587"/>
            <ac:spMk id="63" creationId="{9DB5C890-1D51-4A67-9FEF-E80583870AD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57987532" sldId="587"/>
            <ac:spMk id="80" creationId="{38DC35A7-8B75-482A-B029-A0770073C1B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57987532" sldId="587"/>
            <ac:spMk id="83" creationId="{A835363C-6AD6-43C2-B801-416B5FAD3396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6.525" v="1141" actId="47"/>
        <pc:sldMkLst>
          <pc:docMk/>
          <pc:sldMk cId="3193554506" sldId="588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93554506" sldId="588"/>
            <ac:spMk id="116" creationId="{EE7F8AFE-2267-4941-83DF-A5016C4FDF6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93554506" sldId="588"/>
            <ac:spMk id="117" creationId="{9B46ECBC-FE22-4363-A34D-D07BF3EA637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93554506" sldId="588"/>
            <ac:spMk id="124" creationId="{7E05ACD8-DFE1-4479-B9F8-FEC084D093C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93554506" sldId="588"/>
            <ac:spMk id="163" creationId="{453CC9F8-151B-4B89-8F38-A65C6B9170E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93554506" sldId="588"/>
            <ac:spMk id="171" creationId="{AA3BAF3C-C222-447B-864F-D8EE642FCE2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93554506" sldId="588"/>
            <ac:spMk id="186" creationId="{FF25A02B-978F-4AAC-A03D-18CE57C5827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93554506" sldId="588"/>
            <ac:spMk id="193" creationId="{6EA4ABBA-C79A-40BE-9339-A8DEDB04D9F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93554506" sldId="588"/>
            <ac:spMk id="206" creationId="{84CA9C68-FD03-4CCC-BA34-2C4EAD0EE1B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93554506" sldId="588"/>
            <ac:spMk id="211" creationId="{25A624F1-BCF5-4684-BF68-4D27A63850F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93554506" sldId="588"/>
            <ac:spMk id="240" creationId="{9C9C449A-A2B5-4601-A78D-F55194D471ED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9.024" v="1200" actId="47"/>
        <pc:sldMkLst>
          <pc:docMk/>
          <pc:sldMk cId="2269199029" sldId="596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9199029" sldId="596"/>
            <ac:spMk id="5" creationId="{5D866BC0-AB0B-4E04-AF7A-0A0DD38C614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9199029" sldId="596"/>
            <ac:spMk id="6" creationId="{3A17CFF9-55C6-402B-8DC8-CA0B4CC6AC0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9199029" sldId="596"/>
            <ac:spMk id="254" creationId="{2B2BB9B3-4F10-4B22-B13A-756B1B54EBB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9199029" sldId="596"/>
            <ac:spMk id="256" creationId="{808C96B8-1007-43FC-9AA8-F3E89CAE784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9199029" sldId="596"/>
            <ac:spMk id="259" creationId="{2F212ABB-485D-4B2D-AB7B-DA72D08FB72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9199029" sldId="596"/>
            <ac:spMk id="271" creationId="{F2AA92CA-32E2-41FB-BEF4-222C23881D1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9199029" sldId="596"/>
            <ac:spMk id="274" creationId="{7B771729-0C42-45C2-A794-350892817AE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9199029" sldId="596"/>
            <ac:spMk id="278" creationId="{FFD0159A-CC95-4B2C-82C4-6F454D95ECF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9199029" sldId="596"/>
            <ac:spMk id="281" creationId="{076F878F-2CF6-4931-84E4-252AF0A2DBF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9199029" sldId="596"/>
            <ac:spMk id="282" creationId="{1287F424-7AF4-46B9-B604-1029E56E0682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3257994823" sldId="597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257994823" sldId="597"/>
            <ac:spMk id="2" creationId="{810C5B46-3A46-43C5-899F-C5A91739784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257994823" sldId="597"/>
            <ac:spMk id="3" creationId="{D757FDD8-3053-4D1D-96AD-20E54FF219A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257994823" sldId="597"/>
            <ac:spMk id="5" creationId="{5D866BC0-AB0B-4E04-AF7A-0A0DD38C614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257994823" sldId="597"/>
            <ac:spMk id="11" creationId="{2E9D6263-A615-465B-90AA-AB336D54D64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257994823" sldId="597"/>
            <ac:spMk id="14" creationId="{5538F4E4-BBC9-40E7-8F09-DD3BD5F08CE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257994823" sldId="597"/>
            <ac:spMk id="28" creationId="{90EBC96B-3836-4755-ACD9-EFB3CAD3F1F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257994823" sldId="597"/>
            <ac:spMk id="280" creationId="{491203B2-D67D-4828-A182-18364C68DAC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257994823" sldId="597"/>
            <ac:spMk id="281" creationId="{378B5823-9E6F-4DC1-8DC2-12959DC6CC2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257994823" sldId="597"/>
            <ac:spMk id="283" creationId="{608D6A2F-A0A6-4B52-BF57-77F9E160473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257994823" sldId="597"/>
            <ac:spMk id="299" creationId="{5163257F-54DC-472A-A3A1-C12AFACAB704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2584915756" sldId="598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84915756" sldId="598"/>
            <ac:spMk id="1211" creationId="{C379690C-EE15-4390-9C8F-E13B3BACC9A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84915756" sldId="598"/>
            <ac:spMk id="1222" creationId="{92D81B5F-1DE0-463D-BA13-83D34FF9CB9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84915756" sldId="598"/>
            <ac:spMk id="1232" creationId="{B1F2A878-10EA-493B-A5E3-D750B3A9462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84915756" sldId="598"/>
            <ac:spMk id="1233" creationId="{68D66FB4-5D60-4D78-86E4-C165D2A41F5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84915756" sldId="598"/>
            <ac:spMk id="1292" creationId="{35B15B8B-3DB6-492D-8D3F-D1B14F58601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84915756" sldId="598"/>
            <ac:spMk id="1320" creationId="{1A15A734-6B33-45EB-956D-1EE2C95FEEE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84915756" sldId="598"/>
            <ac:spMk id="1343" creationId="{CFF0FD10-D112-474F-9D77-D412182FE4E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84915756" sldId="598"/>
            <ac:spMk id="1403" creationId="{61D00C60-CF1F-4677-97B4-066B4CA8415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84915756" sldId="598"/>
            <ac:spMk id="1405" creationId="{97BF8947-3296-4898-A7CD-30E8DAECB13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84915756" sldId="598"/>
            <ac:spMk id="1441" creationId="{996AC2BB-BC0E-4B76-A95E-7F1EAD7423EF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2695179627" sldId="601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95179627" sldId="601"/>
            <ac:spMk id="2" creationId="{810C5B46-3A46-43C5-899F-C5A91739784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95179627" sldId="601"/>
            <ac:spMk id="3" creationId="{FF9FDCA7-6BE0-4D05-BD51-A3086DFAEC0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95179627" sldId="601"/>
            <ac:spMk id="5" creationId="{5D866BC0-AB0B-4E04-AF7A-0A0DD38C614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95179627" sldId="601"/>
            <ac:spMk id="115" creationId="{7DA838D2-8862-4F96-AB34-C2822888F1E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95179627" sldId="601"/>
            <ac:spMk id="118" creationId="{CF1B3AF3-36FC-497D-93B5-1EF5DAA137B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95179627" sldId="601"/>
            <ac:spMk id="119" creationId="{3DEAC36D-C169-4DEE-BD3B-18F5E582F7E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95179627" sldId="601"/>
            <ac:spMk id="120" creationId="{44FA4EA1-D439-4F0A-A825-DB4AD7AA96C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95179627" sldId="601"/>
            <ac:spMk id="121" creationId="{A2D9D684-E2D1-45F8-8225-F4AF55F4078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95179627" sldId="601"/>
            <ac:spMk id="124" creationId="{439D12DA-A319-4B99-9EE1-6D3D29E1243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95179627" sldId="601"/>
            <ac:spMk id="299" creationId="{5163257F-54DC-472A-A3A1-C12AFACAB704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4100055633" sldId="602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00055633" sldId="602"/>
            <ac:spMk id="5" creationId="{5D866BC0-AB0B-4E04-AF7A-0A0DD38C614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00055633" sldId="602"/>
            <ac:spMk id="14" creationId="{60682AB7-02B8-47BB-BB6A-84CBB31B0CC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00055633" sldId="602"/>
            <ac:spMk id="17" creationId="{55CA5570-774C-4843-88D5-1182270353D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00055633" sldId="602"/>
            <ac:spMk id="19" creationId="{3A33F663-F2F4-460C-ADEB-92EB37B2506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00055633" sldId="602"/>
            <ac:spMk id="20" creationId="{7EDFC0A2-D570-4BB1-9504-D62AAEA8AC6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00055633" sldId="602"/>
            <ac:spMk id="21" creationId="{3AAF29E0-02B6-46AF-9C2C-D015CC5D881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00055633" sldId="602"/>
            <ac:spMk id="23" creationId="{5B8BC0BD-44EE-46BB-9153-0B7F7E2B8D31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9.242" v="1201" actId="47"/>
        <pc:sldMkLst>
          <pc:docMk/>
          <pc:sldMk cId="520960724" sldId="603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20960724" sldId="603"/>
            <ac:spMk id="47" creationId="{29EE06CC-9881-4C55-97EE-6322310CEF0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20960724" sldId="603"/>
            <ac:spMk id="50" creationId="{D8962028-24C1-418E-9685-C527B180A48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20960724" sldId="603"/>
            <ac:spMk id="86" creationId="{33258990-BD4F-4063-8785-6028893CE29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20960724" sldId="603"/>
            <ac:spMk id="95" creationId="{176D1C16-26F4-47BA-B0CA-4CF73E84F0E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20960724" sldId="603"/>
            <ac:spMk id="96" creationId="{5D4EA63D-60BE-4235-A958-F33464247A1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20960724" sldId="603"/>
            <ac:spMk id="101" creationId="{ECE52249-1D37-492F-BE4F-E878EFF223A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20960724" sldId="603"/>
            <ac:spMk id="208" creationId="{A4E32CFB-0020-49D4-B342-834D7D1FCCF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20960724" sldId="603"/>
            <ac:spMk id="212" creationId="{882CBF0C-F68F-4DB1-8D1B-7949108EF01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20960724" sldId="603"/>
            <ac:spMk id="300" creationId="{9F78483C-B223-4D94-968B-18C8ADEFEBE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20960724" sldId="603"/>
            <ac:spMk id="301" creationId="{0A469748-1E30-4CDB-821E-B6054946F181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2223611414" sldId="605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23611414" sldId="605"/>
            <ac:spMk id="153" creationId="{D9599CAB-3A24-4CAF-833A-6710F25C1DE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23611414" sldId="605"/>
            <ac:spMk id="154" creationId="{8587B640-8346-4381-9E0A-AD709DCCBF5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23611414" sldId="605"/>
            <ac:spMk id="155" creationId="{0C249EC7-F7B5-4865-AEB7-D4AE6778173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23611414" sldId="605"/>
            <ac:spMk id="161" creationId="{83B220D7-ED3C-4F71-8391-8AFC2DE279B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23611414" sldId="605"/>
            <ac:spMk id="162" creationId="{80AF48E6-2E4F-4E17-9738-D3F9C04EFF9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23611414" sldId="605"/>
            <ac:spMk id="164" creationId="{82C2AAE5-372C-44ED-81A2-9C87DE5D274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23611414" sldId="605"/>
            <ac:spMk id="165" creationId="{55DABF6E-CC1C-45FD-83A3-4A0C2F6490A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23611414" sldId="605"/>
            <ac:spMk id="170" creationId="{57ACB1B1-EEAC-41A1-B169-2C900AC712E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23611414" sldId="605"/>
            <ac:spMk id="171" creationId="{3D958AB9-444C-43A4-AAD5-E6AFE923FEA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23611414" sldId="605"/>
            <ac:spMk id="172" creationId="{C53B3E3B-5633-4B03-8824-07F941135EF0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4084853676" sldId="609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84853676" sldId="609"/>
            <ac:spMk id="2" creationId="{810C5B46-3A46-43C5-899F-C5A91739784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84853676" sldId="609"/>
            <ac:spMk id="3" creationId="{650DA1B5-8920-4260-857A-DFEBBCC623C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84853676" sldId="609"/>
            <ac:spMk id="5" creationId="{5D866BC0-AB0B-4E04-AF7A-0A0DD38C614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84853676" sldId="609"/>
            <ac:spMk id="10" creationId="{453CD1C1-6FEC-4075-B622-D339ADC419A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84853676" sldId="609"/>
            <ac:spMk id="12" creationId="{7351BE9F-8823-4DBD-A0C1-AF45D937DF9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84853676" sldId="609"/>
            <ac:spMk id="13" creationId="{7495ABFF-3481-4A74-B1A7-CB6143053B2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84853676" sldId="609"/>
            <ac:spMk id="27" creationId="{25BDECF0-7D1B-4457-9A07-14E82075B3E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84853676" sldId="609"/>
            <ac:spMk id="28" creationId="{F7E12E74-798B-4A16-BE8A-74FECDABB40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84853676" sldId="609"/>
            <ac:spMk id="279" creationId="{567F2FB6-23A9-4985-AB36-5D3F6B15D717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47.851" v="1099" actId="47"/>
        <pc:sldMkLst>
          <pc:docMk/>
          <pc:sldMk cId="1260601580" sldId="613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60601580" sldId="613"/>
            <ac:spMk id="2" creationId="{810C5B46-3A46-43C5-899F-C5A91739784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60601580" sldId="613"/>
            <ac:spMk id="3" creationId="{323B33DF-2D6E-4C7E-BA57-2FBBE6807F0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60601580" sldId="613"/>
            <ac:spMk id="5" creationId="{5D866BC0-AB0B-4E04-AF7A-0A0DD38C614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60601580" sldId="613"/>
            <ac:spMk id="12" creationId="{6A2517A9-FAD1-4BEB-B369-55E431CF4AA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60601580" sldId="613"/>
            <ac:spMk id="13" creationId="{7CAFBD43-6219-4C5B-ADBA-C98714E6115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60601580" sldId="613"/>
            <ac:spMk id="18" creationId="{AC6773FD-C811-4CC2-8A0B-4A5FDD454FF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60601580" sldId="613"/>
            <ac:spMk id="24" creationId="{D69F6CA2-D8F2-4967-B779-48F3FCD1F0F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60601580" sldId="613"/>
            <ac:spMk id="26" creationId="{C0AB6A95-2BCC-4084-B91E-9F4DCA9CE1B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60601580" sldId="613"/>
            <ac:spMk id="279" creationId="{567F2FB6-23A9-4985-AB36-5D3F6B15D71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60601580" sldId="613"/>
            <ac:spMk id="299" creationId="{5163257F-54DC-472A-A3A1-C12AFACAB704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0:46.442" v="1076" actId="18676"/>
        <pc:sldMkLst>
          <pc:docMk/>
          <pc:sldMk cId="3122453880" sldId="619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22453880" sldId="619"/>
            <ac:spMk id="9" creationId="{CAE5DD7F-C052-449B-BFDD-D487FACA98C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22453880" sldId="619"/>
            <ac:spMk id="11" creationId="{A3080902-952F-4EEB-91F8-93ABEE6AF8C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22453880" sldId="619"/>
            <ac:spMk id="12" creationId="{6E5FE8B4-CBDA-4A49-96FD-F2AF5894E14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22453880" sldId="619"/>
            <ac:spMk id="22" creationId="{F696C8F4-1AE9-4D09-A55F-523C405600D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22453880" sldId="619"/>
            <ac:spMk id="23" creationId="{2DBF625B-9F70-40F6-8CF9-8F8CD6E66F5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22453880" sldId="619"/>
            <ac:spMk id="26" creationId="{FD494831-E727-48BE-9BD3-98CBDE8CA17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22453880" sldId="619"/>
            <ac:spMk id="27" creationId="{EDD8E1C5-138E-43E9-ADF3-FC9CA6A632FF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212815021" sldId="620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2815021" sldId="620"/>
            <ac:spMk id="29" creationId="{903AD81B-26C8-415B-A11A-0521B497C12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2815021" sldId="620"/>
            <ac:spMk id="43" creationId="{D83BB489-02B0-4705-8996-F36A00D7528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2815021" sldId="620"/>
            <ac:spMk id="45" creationId="{D238E28E-F0B3-42A0-A26F-34312A7F870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2815021" sldId="620"/>
            <ac:spMk id="52" creationId="{9CE02B56-A688-4C99-8188-65834825C9F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2815021" sldId="620"/>
            <ac:spMk id="53" creationId="{BD056A6D-00D1-4840-A514-579F5CBF944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2815021" sldId="620"/>
            <ac:spMk id="55" creationId="{9FBEC1C2-12D3-499B-A163-C36EAD93FC5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2815021" sldId="620"/>
            <ac:spMk id="57" creationId="{890023B3-A611-426F-A7C2-D390BD6EF42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2815021" sldId="620"/>
            <ac:spMk id="58" creationId="{336F8EAC-8A73-4551-BBE7-3AD2534988C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2815021" sldId="620"/>
            <ac:spMk id="78" creationId="{9CCE0A47-ECAE-4749-BD61-F0EF7E7C534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2815021" sldId="620"/>
            <ac:spMk id="81" creationId="{662672A0-F2C3-40F8-8EE2-02B6C9766C8F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3755166733" sldId="621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55166733" sldId="621"/>
            <ac:spMk id="2" creationId="{838A797B-0C99-4BAB-B5F3-465CF1CD2A9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55166733" sldId="621"/>
            <ac:spMk id="3" creationId="{A87C17B2-615D-4B4C-B706-A134FFE1983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55166733" sldId="621"/>
            <ac:spMk id="4" creationId="{0F8E1DA4-E1CE-4EE9-9623-FAC3A25D934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55166733" sldId="621"/>
            <ac:spMk id="9" creationId="{12E74650-7F2E-49C0-946A-C49EA22503A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55166733" sldId="621"/>
            <ac:spMk id="11" creationId="{626C8FD2-2F82-4BE0-A609-BD341491ADB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55166733" sldId="621"/>
            <ac:spMk id="12" creationId="{525B2269-C52C-493D-BD95-B73419387EB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55166733" sldId="621"/>
            <ac:spMk id="13" creationId="{924335C5-9EDC-4C5F-949E-1CB6E1E44439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571634214" sldId="623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71634214" sldId="623"/>
            <ac:spMk id="2" creationId="{2F54FED7-30C3-4ECE-A360-F0E7C419F86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71634214" sldId="623"/>
            <ac:spMk id="3" creationId="{E6F7B410-A8AC-4949-8365-8825E8DE513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71634214" sldId="623"/>
            <ac:spMk id="5" creationId="{E90ED30E-115E-406A-B832-DE92E766348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71634214" sldId="623"/>
            <ac:spMk id="10" creationId="{4AD4503F-0443-490F-A1FC-CFF7A0E2740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71634214" sldId="623"/>
            <ac:spMk id="14" creationId="{1CCA133E-025C-46E9-9ACD-C341F38BCD9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71634214" sldId="623"/>
            <ac:spMk id="15" creationId="{F63D112B-D671-44FB-9FED-DBBA561B82D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71634214" sldId="623"/>
            <ac:spMk id="16" creationId="{5ACCD967-9DCF-4174-8E78-25193AB4A22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71634214" sldId="623"/>
            <ac:spMk id="17" creationId="{DE144C58-5EFC-4B6D-84D7-0907DC25AC8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71634214" sldId="623"/>
            <ac:spMk id="18" creationId="{B1A3CC6F-2338-4E61-9D0F-D63A35DB09C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71634214" sldId="623"/>
            <ac:spMk id="19" creationId="{9715ECB7-816B-4B26-968D-6B34F87B1FF7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3730093266" sldId="627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30093266" sldId="627"/>
            <ac:spMk id="2" creationId="{04175E2F-2A8F-4B6E-8951-69D84E3E803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30093266" sldId="627"/>
            <ac:spMk id="6" creationId="{10DCEE88-87A5-44AA-A03D-0EB0AAF9EC2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30093266" sldId="627"/>
            <ac:spMk id="8" creationId="{1990CC9D-68C3-4510-B1DE-D23BEC17777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30093266" sldId="627"/>
            <ac:spMk id="9" creationId="{21FC04C4-2A9B-43DD-8636-1C8915E17E3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30093266" sldId="627"/>
            <ac:spMk id="10" creationId="{7836704C-AFBC-4A9C-B4D5-CC122E9C2DB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30093266" sldId="627"/>
            <ac:spMk id="11" creationId="{FDD42CAE-CDEA-4B2E-B515-BA3B28C801B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30093266" sldId="627"/>
            <ac:spMk id="12" creationId="{8BA66C8E-3B10-4417-B777-73726BA726D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30093266" sldId="627"/>
            <ac:spMk id="15" creationId="{5E3CFFD2-CFC1-44F2-A174-E351EE90AD5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30093266" sldId="627"/>
            <ac:spMk id="17" creationId="{694C6127-8716-469D-BC47-C27333C5819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30093266" sldId="627"/>
            <ac:spMk id="20" creationId="{D84D34CF-2C6E-48CB-8BB1-B2C0234D9D70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1062979486" sldId="630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62979486" sldId="630"/>
            <ac:spMk id="3" creationId="{360AF247-E6B1-4EAC-9E7E-1BD73BAB212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62979486" sldId="630"/>
            <ac:spMk id="5" creationId="{37595C50-43CD-42A6-A851-65EC4D3FCF9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62979486" sldId="630"/>
            <ac:spMk id="9" creationId="{AE35181E-D7FF-4646-9969-392F36EF4CE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62979486" sldId="630"/>
            <ac:spMk id="11" creationId="{23AFD780-2399-4606-A4BC-375B13F71FD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62979486" sldId="630"/>
            <ac:spMk id="12" creationId="{E54E1A10-631B-4C09-9144-2E602824992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62979486" sldId="630"/>
            <ac:spMk id="13" creationId="{3721F9AD-4132-4CE0-B9D4-4619D3B9E48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62979486" sldId="630"/>
            <ac:spMk id="14" creationId="{C00FD5D0-AC26-4950-AB81-5BCABDB5157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62979486" sldId="630"/>
            <ac:spMk id="15" creationId="{DE638376-946B-4DBA-B56B-6752423EB58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62979486" sldId="630"/>
            <ac:spMk id="16" creationId="{913AA749-0213-4EC3-AF38-4A0DB868C4D7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0:46.442" v="1076" actId="18676"/>
        <pc:sldMkLst>
          <pc:docMk/>
          <pc:sldMk cId="3932212342" sldId="635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32212342" sldId="635"/>
            <ac:spMk id="4" creationId="{3848D865-6F23-464E-93FA-3D35CC408C6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32212342" sldId="635"/>
            <ac:spMk id="7" creationId="{172F3CC0-BB54-4F46-970B-DE6368CF835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32212342" sldId="635"/>
            <ac:spMk id="9" creationId="{93DAA3AA-04DA-4F4C-84DD-B3CEDDC5DA84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4062963836" sldId="637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62963836" sldId="637"/>
            <ac:spMk id="2" creationId="{B740F3A4-12BD-4E48-8516-17213373ED1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62963836" sldId="637"/>
            <ac:spMk id="3" creationId="{788BFE51-70C7-4829-A0A6-95240941724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62963836" sldId="637"/>
            <ac:spMk id="4" creationId="{CD764036-764A-440A-9E7C-F7D9C1C59DC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62963836" sldId="637"/>
            <ac:spMk id="10" creationId="{8197C236-E0F8-4C60-B1E3-F17FC461E61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62963836" sldId="637"/>
            <ac:spMk id="12" creationId="{F2F743AC-A7D7-423F-9CE5-CD19092DB54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62963836" sldId="637"/>
            <ac:spMk id="13" creationId="{15FAEC0E-99BE-413A-85E5-C63CBEBEC8E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62963836" sldId="637"/>
            <ac:spMk id="19" creationId="{4EAC7D7F-CA83-4AA3-8CF2-19A7BFC5BDD8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1:03.583" v="1077" actId="2696"/>
        <pc:sldMkLst>
          <pc:docMk/>
          <pc:sldMk cId="863554904" sldId="1770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63554904" sldId="1770"/>
            <ac:spMk id="2" creationId="{7C5897D1-1E83-445F-9C9A-21D4BC8EE30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63554904" sldId="1770"/>
            <ac:spMk id="23" creationId="{0AC05ECA-A2C7-4DCB-BA0C-762024E0851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63554904" sldId="1770"/>
            <ac:spMk id="24" creationId="{142BFDF3-56F9-4295-93BD-8F2B5FA57A7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63554904" sldId="1770"/>
            <ac:spMk id="30" creationId="{76561098-B679-40FE-89FE-75604ED1A51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63554904" sldId="1770"/>
            <ac:spMk id="38" creationId="{9A63A131-6B18-4441-ABA5-BEF63C5C6C2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63554904" sldId="1770"/>
            <ac:spMk id="40" creationId="{EE66CE22-8F59-424B-9FB2-FCCA4C68A02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63554904" sldId="1770"/>
            <ac:spMk id="41" creationId="{A8F91EA7-FAE7-4D6A-A6D4-9E74096AA26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63554904" sldId="1770"/>
            <ac:spMk id="42" creationId="{A224BD69-2A47-477D-8EA4-6557DD47510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63554904" sldId="1770"/>
            <ac:spMk id="43" creationId="{D14113B3-4626-4D89-ABB6-814FEA960D9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63554904" sldId="1770"/>
            <ac:spMk id="44" creationId="{D417C648-ABA7-4629-9268-FF19A45EF75B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0:46.442" v="1076" actId="18676"/>
        <pc:sldMkLst>
          <pc:docMk/>
          <pc:sldMk cId="1063798775" sldId="1771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63798775" sldId="1771"/>
            <ac:spMk id="2" creationId="{ABB818B3-83C0-40C0-8D10-B238D8F9938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63798775" sldId="1771"/>
            <ac:spMk id="3" creationId="{1D7A0181-6312-4634-B935-5BF2C975E22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63798775" sldId="1771"/>
            <ac:spMk id="6" creationId="{89C993D9-9765-40EE-9E93-1EF1EA6976A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63798775" sldId="1771"/>
            <ac:spMk id="7" creationId="{0F901FAF-5EA9-4A77-8865-5503FEEA6AE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63798775" sldId="1771"/>
            <ac:spMk id="9" creationId="{83F97AF3-FD7D-4DE2-A4EA-57CD1F16FA3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63798775" sldId="1771"/>
            <ac:spMk id="10" creationId="{D5C6D17B-0E90-443F-AE3B-EF35ECCD238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63798775" sldId="1771"/>
            <ac:spMk id="11" creationId="{95669DC7-D325-40F5-9E55-5CCBEC363046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48.926" v="1105" actId="47"/>
        <pc:sldMkLst>
          <pc:docMk/>
          <pc:sldMk cId="2358806019" sldId="1772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58806019" sldId="1772"/>
            <ac:spMk id="2" creationId="{17EFB379-F427-4C54-B3BD-6E2959622BD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58806019" sldId="1772"/>
            <ac:spMk id="8" creationId="{709CD233-E99A-4BED-AE4E-A49D85A6D6C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58806019" sldId="1772"/>
            <ac:spMk id="14" creationId="{99D44038-689C-4E40-9897-E575A518AB6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58806019" sldId="1772"/>
            <ac:spMk id="19" creationId="{5151D9E8-34F8-4833-89A3-DCD57A3D603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58806019" sldId="1772"/>
            <ac:spMk id="23" creationId="{B5ED8839-BA88-4FD9-BCD8-05FD8288A92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58806019" sldId="1772"/>
            <ac:spMk id="26" creationId="{5469DB33-9B22-425B-9ECC-3AB285281B6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58806019" sldId="1772"/>
            <ac:spMk id="31" creationId="{4F0DE841-D1CB-46F6-98E5-6670A2293AC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58806019" sldId="1772"/>
            <ac:spMk id="32" creationId="{1CC9B8DD-B37A-4FBC-B8F2-E4DE4410604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58806019" sldId="1772"/>
            <ac:spMk id="35" creationId="{D2C02019-27F9-4951-9B67-3B8F03867A3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58806019" sldId="1772"/>
            <ac:spMk id="38" creationId="{62BA54DF-CB2E-494E-98F6-8C03CC5D60CE}"/>
          </ac:spMkLst>
        </pc:spChg>
      </pc:sldChg>
      <pc:sldChg chg="modSp mod ord">
        <pc:chgData name="Jacobo Domenech Agustin" userId="61653385-aed2-4090-aacd-8680af36a6e0" providerId="ADAL" clId="{E8696C2D-FC87-47CC-A9AD-4DDD29F13C82}" dt="2025-09-25T13:57:58.671" v="1267" actId="790"/>
        <pc:sldMkLst>
          <pc:docMk/>
          <pc:sldMk cId="853210141" sldId="1774"/>
        </pc:sldMkLst>
        <pc:spChg chg="mod">
          <ac:chgData name="Jacobo Domenech Agustin" userId="61653385-aed2-4090-aacd-8680af36a6e0" providerId="ADAL" clId="{E8696C2D-FC87-47CC-A9AD-4DDD29F13C82}" dt="2025-09-25T13:37:24.833" v="340" actId="20577"/>
          <ac:spMkLst>
            <pc:docMk/>
            <pc:sldMk cId="853210141" sldId="1774"/>
            <ac:spMk id="9" creationId="{14BB2214-74F0-4C29-AC48-CAC405C1489A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853210141" sldId="1774"/>
            <ac:spMk id="17" creationId="{3C1D60EC-064C-4965-9809-030E3F998C74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853210141" sldId="1774"/>
            <ac:spMk id="18" creationId="{71A314F3-66AD-45A8-A31D-3D5A78C2F26D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853210141" sldId="1774"/>
            <ac:spMk id="20" creationId="{828ABF8D-7476-4296-9E39-8D13A0AC4E8C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853210141" sldId="1774"/>
            <ac:spMk id="22" creationId="{79D0040D-3324-4CEE-87EF-8046C65FB4EA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853210141" sldId="1774"/>
            <ac:spMk id="23" creationId="{6F47B8FB-8598-454F-833A-BAB0F022E54B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853210141" sldId="1774"/>
            <ac:spMk id="25" creationId="{5BAC03A6-5388-48A9-8DE8-EDC78C3C40A4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853210141" sldId="1774"/>
            <ac:spMk id="27" creationId="{4F14E5CC-98E9-4203-8977-64C44013697B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853210141" sldId="1774"/>
            <ac:spMk id="37" creationId="{EE94F20F-0E59-4E02-892D-E0218FDE8965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853210141" sldId="1774"/>
            <ac:spMk id="39" creationId="{641E2B59-97EB-4611-8465-93F6C91A4DDC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853210141" sldId="1774"/>
            <ac:spMk id="41" creationId="{9EF09277-2735-4596-8A41-88F4A6C80349}"/>
          </ac:spMkLst>
        </pc:spChg>
        <pc:spChg chg="mod">
          <ac:chgData name="Jacobo Domenech Agustin" userId="61653385-aed2-4090-aacd-8680af36a6e0" providerId="ADAL" clId="{E8696C2D-FC87-47CC-A9AD-4DDD29F13C82}" dt="2025-09-25T13:45:10.777" v="962" actId="113"/>
          <ac:spMkLst>
            <pc:docMk/>
            <pc:sldMk cId="853210141" sldId="1774"/>
            <ac:spMk id="43" creationId="{459F17DB-FE1C-491A-92C9-637CB7989C4B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1:03.583" v="1077" actId="2696"/>
        <pc:sldMkLst>
          <pc:docMk/>
          <pc:sldMk cId="1546849699" sldId="1775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46849699" sldId="1775"/>
            <ac:spMk id="2" creationId="{DB0D25F5-615D-4371-B876-0077AA9545D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46849699" sldId="1775"/>
            <ac:spMk id="9" creationId="{14BB2214-74F0-4C29-AC48-CAC405C1489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46849699" sldId="1775"/>
            <ac:spMk id="26" creationId="{0817E5AC-E185-41B8-BF49-6E241B10415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46849699" sldId="1775"/>
            <ac:spMk id="36" creationId="{B851B9D9-EF64-4AF3-A51F-4A915CAF38D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46849699" sldId="1775"/>
            <ac:spMk id="37" creationId="{558FBAFB-1A0B-4953-BA6D-B357A046679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46849699" sldId="1775"/>
            <ac:spMk id="38" creationId="{9A63A131-6B18-4441-ABA5-BEF63C5C6C2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46849699" sldId="1775"/>
            <ac:spMk id="41" creationId="{04E294CD-B765-4FD4-A84C-666F570B9C1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46849699" sldId="1775"/>
            <ac:spMk id="42" creationId="{A224BD69-2A47-477D-8EA4-6557DD47510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46849699" sldId="1775"/>
            <ac:spMk id="44" creationId="{D417C648-ABA7-4629-9268-FF19A45EF75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46849699" sldId="1775"/>
            <ac:spMk id="45" creationId="{8457310C-D312-446A-94A7-8C6F010EF50D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3.747" v="1127" actId="47"/>
        <pc:sldMkLst>
          <pc:docMk/>
          <pc:sldMk cId="1092949769" sldId="1779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92949769" sldId="1779"/>
            <ac:spMk id="33" creationId="{9F5C0112-CB39-4FD2-9C32-DFCF695EE7B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92949769" sldId="1779"/>
            <ac:spMk id="34" creationId="{B238563C-D368-4987-BAAD-C664C45D42A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92949769" sldId="1779"/>
            <ac:spMk id="36" creationId="{401A5598-29A5-4524-80F7-0D5EAD4C206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92949769" sldId="1779"/>
            <ac:spMk id="37" creationId="{F1BC2A27-8966-4562-AA50-1557352651B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92949769" sldId="1779"/>
            <ac:spMk id="38" creationId="{670E5874-29DA-494C-8537-A5597E0F45F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92949769" sldId="1779"/>
            <ac:spMk id="39" creationId="{E6C18862-8AB3-466C-8312-E76B37E4CFF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92949769" sldId="1779"/>
            <ac:spMk id="43" creationId="{CAC980F1-F589-47C9-BDD0-5ECC56B6D25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92949769" sldId="1779"/>
            <ac:spMk id="45" creationId="{FC5C0846-DEA6-4683-AA6A-29055288A08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92949769" sldId="1779"/>
            <ac:spMk id="46" creationId="{7424ADC6-A220-46F7-B9D2-193862601BF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92949769" sldId="1779"/>
            <ac:spMk id="49" creationId="{F9780691-1845-4F0F-99A7-57447CA2E8CB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66840915" sldId="1805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6840915" sldId="1805"/>
            <ac:spMk id="2" creationId="{2FFEFD28-4FDD-4332-8C35-927FB3F0B1A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6840915" sldId="1805"/>
            <ac:spMk id="3" creationId="{9D757777-2B1C-4226-97E5-013AC723309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6840915" sldId="1805"/>
            <ac:spMk id="13" creationId="{2FD1AE41-E219-4F4F-B71A-2F00A560B70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6840915" sldId="1805"/>
            <ac:spMk id="14" creationId="{D42B1581-014F-494F-8588-E3329A5C519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6840915" sldId="1805"/>
            <ac:spMk id="15" creationId="{F418D3FC-7EA8-4D23-A982-54B468EC809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6840915" sldId="1805"/>
            <ac:spMk id="16" creationId="{D8CFE307-9F8A-4C42-9637-D180BB76EDF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6840915" sldId="1805"/>
            <ac:spMk id="18" creationId="{75355E92-8A5D-42EB-A7F6-47A6F21EEBB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6840915" sldId="1805"/>
            <ac:spMk id="20" creationId="{FC1607E7-D60F-49DB-826E-35E7180C67C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6840915" sldId="1805"/>
            <ac:spMk id="21" creationId="{E35FBC76-C583-44ED-B7E8-F0A29A2B668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66840915" sldId="1805"/>
            <ac:spMk id="22" creationId="{EE208FF6-0CAC-40B3-99F7-1B30FB2ED975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0:46.442" v="1076" actId="18676"/>
        <pc:sldMkLst>
          <pc:docMk/>
          <pc:sldMk cId="1400820043" sldId="1817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00820043" sldId="1817"/>
            <ac:spMk id="2" creationId="{D810AF52-A01B-40D2-95BF-C7A5DBFA3BA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00820043" sldId="1817"/>
            <ac:spMk id="8" creationId="{E1857DE9-E70A-42C5-8BC0-1FFBBF0ECAA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00820043" sldId="1817"/>
            <ac:spMk id="11" creationId="{2CBC6F2C-ADB8-4D8D-8810-EB32AE1A242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00820043" sldId="1817"/>
            <ac:spMk id="13" creationId="{E1FE85EC-0C42-4CB6-8D71-EED171622D34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1:03.583" v="1077" actId="2696"/>
        <pc:sldMkLst>
          <pc:docMk/>
          <pc:sldMk cId="1661027427" sldId="1824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61027427" sldId="1824"/>
            <ac:spMk id="3" creationId="{7DE45618-CAA0-4925-A16C-A6EC1BFD647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61027427" sldId="1824"/>
            <ac:spMk id="39" creationId="{D0FCECC1-2E21-4C4D-9F53-9025F777597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61027427" sldId="1824"/>
            <ac:spMk id="40" creationId="{D5D78EF0-70EA-4F0C-A97C-FD04A1A1AD7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61027427" sldId="1824"/>
            <ac:spMk id="41" creationId="{347F6229-4E5F-4E8F-9D61-6DE5498A506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61027427" sldId="1824"/>
            <ac:spMk id="42" creationId="{ADA73DEA-9599-414E-9E56-242BCB66BE7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61027427" sldId="1824"/>
            <ac:spMk id="43" creationId="{C39784C7-88AE-4B19-B020-C5135FF3E8A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61027427" sldId="1824"/>
            <ac:spMk id="49" creationId="{22FBEF66-F344-4EF7-B016-BF8B91F789D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61027427" sldId="1824"/>
            <ac:spMk id="51" creationId="{A13A6C8E-FA18-4ED2-821C-C57A6F3EC21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61027427" sldId="1824"/>
            <ac:spMk id="53" creationId="{28D99A34-C6A2-4743-AAD8-1372740DE52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61027427" sldId="1824"/>
            <ac:spMk id="56" creationId="{BA810852-8F11-49EF-A102-91BAB728CE3C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1:03.583" v="1077" actId="2696"/>
        <pc:sldMkLst>
          <pc:docMk/>
          <pc:sldMk cId="758772099" sldId="1825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8772099" sldId="1825"/>
            <ac:spMk id="24" creationId="{AF438D4D-A53E-4832-8650-A07350E1AEB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8772099" sldId="1825"/>
            <ac:spMk id="25" creationId="{E61DE370-F79B-4039-8DAB-4361FC7803E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8772099" sldId="1825"/>
            <ac:spMk id="28" creationId="{526B93C4-BF91-4D42-91CB-C861C6BDCB4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8772099" sldId="1825"/>
            <ac:spMk id="36" creationId="{C68129CE-4912-4630-BADE-9694B0A2100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8772099" sldId="1825"/>
            <ac:spMk id="39" creationId="{9139D76F-89CD-4F56-A316-A5665B08DC0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8772099" sldId="1825"/>
            <ac:spMk id="41" creationId="{B556ABAC-2743-443F-AB94-D0E23C0687A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8772099" sldId="1825"/>
            <ac:spMk id="43" creationId="{23408B35-B241-49F5-8951-BB96564B736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8772099" sldId="1825"/>
            <ac:spMk id="54" creationId="{CB3BE34B-1A1C-4358-9927-0097595C8C1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8772099" sldId="1825"/>
            <ac:spMk id="56" creationId="{4942FDE1-83DA-44F4-BB16-C0BE88D21CF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8772099" sldId="1825"/>
            <ac:spMk id="57" creationId="{F91D7441-20D7-42A5-AF66-245E8B667AD6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1:11.938" v="1078" actId="47"/>
        <pc:sldMkLst>
          <pc:docMk/>
          <pc:sldMk cId="1421388563" sldId="1828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21388563" sldId="1828"/>
            <ac:spMk id="2" creationId="{53C01E73-7735-4EC6-94AD-903DD89174D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21388563" sldId="1828"/>
            <ac:spMk id="4" creationId="{2AF6A824-8C5F-435B-8738-B20EFEC7AFA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21388563" sldId="1828"/>
            <ac:spMk id="6" creationId="{B49F6758-B7FC-487E-9FB0-44B6772A84E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21388563" sldId="1828"/>
            <ac:spMk id="8" creationId="{3DB14273-B38C-4582-8267-9E282E79057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21388563" sldId="1828"/>
            <ac:spMk id="11" creationId="{3601F215-BE9A-4714-834E-F7D2D226292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21388563" sldId="1828"/>
            <ac:spMk id="12" creationId="{41B345AF-F1EE-4D46-A5B6-84CDDBC383B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21388563" sldId="1828"/>
            <ac:spMk id="15" creationId="{06247250-50DF-41E2-B719-3EC95C90C32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21388563" sldId="1828"/>
            <ac:spMk id="16" creationId="{18E7C3D7-A9FE-40BB-9BB4-CBDB909546C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21388563" sldId="1828"/>
            <ac:spMk id="17" creationId="{F073BDED-2854-4A6F-B67B-1512FB0FF13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21388563" sldId="1828"/>
            <ac:spMk id="18" creationId="{FE9AB5C5-BE93-47EC-ADDB-2EFC7D587777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0:46.442" v="1076" actId="18676"/>
        <pc:sldMkLst>
          <pc:docMk/>
          <pc:sldMk cId="2699412855" sldId="1829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99412855" sldId="1829"/>
            <ac:spMk id="2" creationId="{B1840AC1-C3A3-47D5-880F-847AADAC8D7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99412855" sldId="1829"/>
            <ac:spMk id="4" creationId="{4F5ADABA-782B-4093-8A85-5235C54084A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99412855" sldId="1829"/>
            <ac:spMk id="7" creationId="{23B4D304-1EF6-41DC-895D-02395EF234D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99412855" sldId="1829"/>
            <ac:spMk id="8" creationId="{76B52696-9000-4239-AD37-CE71CFC6430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99412855" sldId="1829"/>
            <ac:spMk id="9" creationId="{FD3F28FD-A8B4-4A48-8862-679FE02855D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99412855" sldId="1829"/>
            <ac:spMk id="10" creationId="{AA1182E2-173D-4669-A1F1-B9F7B956DD7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99412855" sldId="1829"/>
            <ac:spMk id="13" creationId="{DE322807-949F-4826-AD84-2356AF231715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750239634" sldId="1831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0239634" sldId="1831"/>
            <ac:spMk id="3" creationId="{8C7714F9-0B89-4A14-BE72-CBE43BDDE0F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0239634" sldId="1831"/>
            <ac:spMk id="35" creationId="{7D3EA0AA-54DE-4520-B4CC-D580CA27E58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0239634" sldId="1831"/>
            <ac:spMk id="36" creationId="{FE58DB03-71DE-43A1-97B1-673BED8960D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0239634" sldId="1831"/>
            <ac:spMk id="39" creationId="{8856BC58-6183-4CDB-907F-7743A304BA7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0239634" sldId="1831"/>
            <ac:spMk id="40" creationId="{CF9DF96F-6407-4F85-B859-6BE840D42D6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0239634" sldId="1831"/>
            <ac:spMk id="46" creationId="{523A4A26-9B70-4522-AB3D-6572C673C9B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0239634" sldId="1831"/>
            <ac:spMk id="49" creationId="{DCD5C669-9E5F-4AAA-816E-E41620CD78D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0239634" sldId="1831"/>
            <ac:spMk id="65" creationId="{C9270B56-17AB-49F3-8176-6F02F95891B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0239634" sldId="1831"/>
            <ac:spMk id="68" creationId="{DCF81540-FC5D-4DCC-B125-7242321EE15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0239634" sldId="1831"/>
            <ac:spMk id="70" creationId="{01CA26D7-5FBE-4280-929F-989060527554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2849455874" sldId="1832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49455874" sldId="1832"/>
            <ac:spMk id="2" creationId="{87A4E177-908D-403C-85A7-D808653C1A8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49455874" sldId="1832"/>
            <ac:spMk id="3" creationId="{BF66E803-1C5C-4B8A-A6BD-5A845DC0E2E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49455874" sldId="1832"/>
            <ac:spMk id="19" creationId="{B2CBB683-0690-4AB8-A5BE-A1B9C77E74A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49455874" sldId="1832"/>
            <ac:spMk id="20" creationId="{FFB5C5FD-C845-4082-9F04-D92C9A0C17A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49455874" sldId="1832"/>
            <ac:spMk id="25" creationId="{C40DFFBA-255B-46EF-AEE9-A405DEDE63F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49455874" sldId="1832"/>
            <ac:spMk id="40" creationId="{CF9DF96F-6407-4F85-B859-6BE840D42D6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49455874" sldId="1832"/>
            <ac:spMk id="61" creationId="{B9710D2D-6963-44FE-AC5C-5F536278FF9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49455874" sldId="1832"/>
            <ac:spMk id="71" creationId="{CD584C93-DB44-4A2A-A657-202DC92CA6F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49455874" sldId="1832"/>
            <ac:spMk id="82" creationId="{085CE2AF-4823-44A4-A66B-AF609B4FDCF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49455874" sldId="1832"/>
            <ac:spMk id="83" creationId="{4D589AD8-6543-4793-9E05-CCDFFFB68188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310549469" sldId="1833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0549469" sldId="1833"/>
            <ac:spMk id="2" creationId="{87A4E177-908D-403C-85A7-D808653C1A8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0549469" sldId="1833"/>
            <ac:spMk id="3" creationId="{693696AA-6E85-477E-953D-BAB6E90DA63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0549469" sldId="1833"/>
            <ac:spMk id="20" creationId="{426E602A-5DCB-48EE-956B-067D32380BE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0549469" sldId="1833"/>
            <ac:spMk id="30" creationId="{4E7EF145-E856-437D-BFDB-7DCDFD33456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0549469" sldId="1833"/>
            <ac:spMk id="33" creationId="{66738780-3506-40FD-9592-653923BD7BA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0549469" sldId="1833"/>
            <ac:spMk id="38" creationId="{060007D7-7DDE-4E5E-9A45-D4FCB20F0EB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0549469" sldId="1833"/>
            <ac:spMk id="40" creationId="{CF9DF96F-6407-4F85-B859-6BE840D42D6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0549469" sldId="1833"/>
            <ac:spMk id="45" creationId="{206C6559-F828-44FB-8E2F-65751009A0C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0549469" sldId="1833"/>
            <ac:spMk id="59" creationId="{64AD149C-B45B-4BD0-A19D-B121372D2DE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10549469" sldId="1833"/>
            <ac:spMk id="60" creationId="{1F1166D9-62A7-4C5B-AEEE-40E48B7B316A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46.507" v="1093" actId="47"/>
        <pc:sldMkLst>
          <pc:docMk/>
          <pc:sldMk cId="3091747994" sldId="4527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91747994" sldId="4527"/>
            <ac:spMk id="185" creationId="{C568FCC8-0755-45E5-9990-FDD36F8BFC3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91747994" sldId="4527"/>
            <ac:spMk id="193" creationId="{7CF7CC8E-9166-497E-9BAA-C13C75DDD75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91747994" sldId="4527"/>
            <ac:spMk id="198" creationId="{F2C095A5-A24E-490D-A7E6-9CC15504E5B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91747994" sldId="4527"/>
            <ac:spMk id="214" creationId="{8E687F4A-7E14-496E-8D29-7549C3777EC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91747994" sldId="4527"/>
            <ac:spMk id="217" creationId="{43152BBB-873C-43AC-9060-9F7C4644127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91747994" sldId="4527"/>
            <ac:spMk id="244" creationId="{7581BE75-1385-4126-BD1E-844B599E190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91747994" sldId="4527"/>
            <ac:spMk id="246" creationId="{27856052-592F-4E2F-B317-67F6C81584C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91747994" sldId="4527"/>
            <ac:spMk id="273" creationId="{0799EC50-DDA3-46D7-94E9-58CECEBE654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91747994" sldId="4527"/>
            <ac:spMk id="276" creationId="{3E2358F0-AC95-407E-82E0-42DCA6D8524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91747994" sldId="4527"/>
            <ac:spMk id="290" creationId="{80CCA7FC-75EB-4C53-ACBE-17BCCCBF8131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46.243" v="1092" actId="47"/>
        <pc:sldMkLst>
          <pc:docMk/>
          <pc:sldMk cId="125356237" sldId="4542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5356237" sldId="4542"/>
            <ac:spMk id="3" creationId="{76B3C15A-79CB-4329-B263-E01D219CAAD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5356237" sldId="4542"/>
            <ac:spMk id="8" creationId="{A8300310-6FA6-AF4E-8660-3964FC159EC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5356237" sldId="4542"/>
            <ac:spMk id="12" creationId="{CB445AB2-D8DE-1449-B32C-B615ADCE046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5356237" sldId="4542"/>
            <ac:spMk id="14" creationId="{639E57CB-00EF-4E40-B48D-36E37EE6D28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5356237" sldId="4542"/>
            <ac:spMk id="15" creationId="{B50CF09B-6C58-4036-AE32-9EB773E4800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5356237" sldId="4542"/>
            <ac:spMk id="21" creationId="{86D217F0-4341-4796-B29B-EE1EC0E31CF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5356237" sldId="4542"/>
            <ac:spMk id="22" creationId="{73EDECAB-4E42-4136-9779-68358C92AF7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5356237" sldId="4542"/>
            <ac:spMk id="23" creationId="{8B41EFD8-8433-4E6F-B369-D6B553C0221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5356237" sldId="4542"/>
            <ac:spMk id="33" creationId="{B9BDD72A-6EAA-4FD0-9F5E-C3AC9E263BB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5356237" sldId="4542"/>
            <ac:spMk id="41" creationId="{543983FD-DCC1-4C28-A25B-63947FEDA722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44.231" v="1088" actId="47"/>
        <pc:sldMkLst>
          <pc:docMk/>
          <pc:sldMk cId="1913077764" sldId="4638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13077764" sldId="4638"/>
            <ac:spMk id="2" creationId="{6E4C7826-5795-4C81-A960-E2B520AC6CC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13077764" sldId="4638"/>
            <ac:spMk id="3" creationId="{DBC2E511-C5D6-4962-A731-F1A8389A1062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45.381" v="1090" actId="47"/>
        <pc:sldMkLst>
          <pc:docMk/>
          <pc:sldMk cId="3412701118" sldId="4644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2701118" sldId="4644"/>
            <ac:spMk id="6" creationId="{9A3B2469-50D3-4FE7-8595-86523AA4646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2701118" sldId="4644"/>
            <ac:spMk id="32" creationId="{7D833E8E-16FD-413E-88BB-A38F0456B48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2701118" sldId="4644"/>
            <ac:spMk id="33" creationId="{3CD9B68B-40C1-428C-9343-A6A0334F1A5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2701118" sldId="4644"/>
            <ac:spMk id="46" creationId="{4BBB58A2-1590-46ED-8B85-6B81A7CFCA2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2701118" sldId="4644"/>
            <ac:spMk id="47" creationId="{32ECC41D-6357-4516-8FD8-0AFA548D907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2701118" sldId="4644"/>
            <ac:spMk id="48" creationId="{F59C41F8-5482-467D-B221-79003A9F621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2701118" sldId="4644"/>
            <ac:spMk id="49" creationId="{7C5EFD80-3298-4358-9503-903BA78C5AF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2701118" sldId="4644"/>
            <ac:spMk id="51" creationId="{E8DDAE9B-C63C-4BB2-B7B5-7E67C5DB470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2701118" sldId="4644"/>
            <ac:spMk id="52" creationId="{9F878036-6A92-4E0A-B65C-7CD6991A04C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2701118" sldId="4644"/>
            <ac:spMk id="61" creationId="{EDBB6D5F-967F-4229-AB75-C3D33FD6E8CF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45.860" v="1091" actId="47"/>
        <pc:sldMkLst>
          <pc:docMk/>
          <pc:sldMk cId="1876910100" sldId="4664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6910100" sldId="4664"/>
            <ac:spMk id="8" creationId="{250BFF36-1276-4259-9FC4-3AD0FF9C8E0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6910100" sldId="4664"/>
            <ac:spMk id="14" creationId="{08C4D54A-DB75-4BAB-B83E-E2EDE60FB64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6910100" sldId="4664"/>
            <ac:spMk id="15" creationId="{02FA237C-69C7-496C-B89A-112EEE4610C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6910100" sldId="4664"/>
            <ac:spMk id="16" creationId="{6F26CEAB-9C5B-4181-93DB-8B31701D9D5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6910100" sldId="4664"/>
            <ac:spMk id="17" creationId="{BFFDCD53-E274-4707-887C-3BA2E5FC32D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6910100" sldId="4664"/>
            <ac:spMk id="18" creationId="{9BB58C09-F1FA-483B-8D3D-EE12D94805F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6910100" sldId="4664"/>
            <ac:spMk id="19" creationId="{FAA763D5-1883-42A9-B0CF-2EE5DD23785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6910100" sldId="4664"/>
            <ac:spMk id="20" creationId="{C17B16CB-EE7E-4128-BD07-C1B2C88A9BBA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46.772" v="1094" actId="47"/>
        <pc:sldMkLst>
          <pc:docMk/>
          <pc:sldMk cId="869408832" sldId="4665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69408832" sldId="4665"/>
            <ac:spMk id="72" creationId="{DB7C53A2-4850-42BA-8930-87A7C809581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69408832" sldId="4665"/>
            <ac:spMk id="249" creationId="{B3473F03-B55E-4840-A1E2-6B8C3045ED1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69408832" sldId="4665"/>
            <ac:spMk id="255" creationId="{BDB98BFD-39F7-4277-BFCF-234D1AA627E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69408832" sldId="4665"/>
            <ac:spMk id="259" creationId="{3683210A-9224-484E-8B3B-3EFF6A3FE77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69408832" sldId="4665"/>
            <ac:spMk id="267" creationId="{AB3C5851-C728-4F64-9426-175819CCA9A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69408832" sldId="4665"/>
            <ac:spMk id="273" creationId="{91C2DD0F-C1ED-486C-A471-A2A8DD6782E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69408832" sldId="4665"/>
            <ac:spMk id="283" creationId="{CD831850-2262-414F-81E9-3C48CFF5A69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69408832" sldId="4665"/>
            <ac:spMk id="293" creationId="{F834FFE5-7B44-4BC2-BAD5-979074E027D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69408832" sldId="4665"/>
            <ac:spMk id="306" creationId="{C01F30B2-1E48-4E54-91F0-45AA329621F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69408832" sldId="4665"/>
            <ac:spMk id="308" creationId="{DDB47A86-3F04-41CB-8221-AC7BA91515E0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47.045" v="1095" actId="47"/>
        <pc:sldMkLst>
          <pc:docMk/>
          <pc:sldMk cId="2241215807" sldId="4666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41215807" sldId="4666"/>
            <ac:spMk id="72" creationId="{8CAF00E2-764A-4730-99E3-0804F50E555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41215807" sldId="4666"/>
            <ac:spMk id="80" creationId="{25F968E2-8167-45D7-B9B9-32A5181E9B5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41215807" sldId="4666"/>
            <ac:spMk id="101" creationId="{6BFEAE90-76FF-451A-9602-7AD04BA2E65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41215807" sldId="4666"/>
            <ac:spMk id="104" creationId="{FB801735-9E06-45A7-B566-763B82FB5F1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41215807" sldId="4666"/>
            <ac:spMk id="136" creationId="{B54D4530-36C2-4FE8-B62A-DB61294B665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41215807" sldId="4666"/>
            <ac:spMk id="138" creationId="{206610CC-01E2-4524-9A1E-67057BF1F82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41215807" sldId="4666"/>
            <ac:spMk id="148" creationId="{29661EB4-2734-431B-8176-C120ABF707E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41215807" sldId="4666"/>
            <ac:spMk id="150" creationId="{341CF6C6-308F-4186-81D4-BD6372A12E8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41215807" sldId="4666"/>
            <ac:spMk id="182" creationId="{BBAEA364-38DC-4FC1-BEB2-2A5B7633BF5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41215807" sldId="4666"/>
            <ac:spMk id="187" creationId="{841F50DD-BDF7-4A49-A548-7F576000FD3F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1420826956" sldId="4708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20826956" sldId="4708"/>
            <ac:spMk id="3" creationId="{E6C7282D-58E3-4657-B1B0-D07CB57BAFC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20826956" sldId="4708"/>
            <ac:spMk id="30" creationId="{CADB4DDF-70D1-4EE1-8C09-78A6FE4859C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20826956" sldId="4708"/>
            <ac:spMk id="42" creationId="{3389A100-0F65-4387-8A87-8B9C3036D71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20826956" sldId="4708"/>
            <ac:spMk id="48" creationId="{C42DFA2B-5B94-4FD4-A9DF-883E2EB37E7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20826956" sldId="4708"/>
            <ac:spMk id="54" creationId="{CF330967-C0C6-4446-B5EB-348B1686CA9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20826956" sldId="4708"/>
            <ac:spMk id="63" creationId="{F42C630F-864D-4A60-9D5A-D287D53AF6C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20826956" sldId="4708"/>
            <ac:spMk id="65" creationId="{60549311-19C6-4389-93C7-EBA781F90E7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20826956" sldId="4708"/>
            <ac:spMk id="66" creationId="{09DDD175-168A-40D3-BE7C-D252269F7F1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20826956" sldId="4708"/>
            <ac:spMk id="77" creationId="{0ACC28D4-00D6-4EA2-B004-9FF2B8587D5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20826956" sldId="4708"/>
            <ac:spMk id="98" creationId="{46DD864F-79EF-4863-AC84-3A773BEE8D4F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48.411" v="1102" actId="47"/>
        <pc:sldMkLst>
          <pc:docMk/>
          <pc:sldMk cId="2008218729" sldId="4833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08218729" sldId="4833"/>
            <ac:spMk id="2" creationId="{DB5A935C-97D8-4E12-B173-6EE051CDD47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08218729" sldId="4833"/>
            <ac:spMk id="4" creationId="{57A68BAE-6981-4A2D-84C6-F0123280101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08218729" sldId="4833"/>
            <ac:spMk id="18" creationId="{847EAA68-0774-42EE-A04F-D4693F6260C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08218729" sldId="4833"/>
            <ac:spMk id="20" creationId="{B0523134-54DA-4DDA-B0DB-D20262EF305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08218729" sldId="4833"/>
            <ac:spMk id="21" creationId="{63B8001C-49A7-4BD9-93DD-4A86463967E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08218729" sldId="4833"/>
            <ac:spMk id="27" creationId="{4A693596-F48E-4BA0-ADCC-43538848BC3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08218729" sldId="4833"/>
            <ac:spMk id="28" creationId="{85156179-E244-4836-8F64-6E671745553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08218729" sldId="4833"/>
            <ac:spMk id="32" creationId="{3CD2F45C-45E9-4FA1-8B0A-0672C4186E9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08218729" sldId="4833"/>
            <ac:spMk id="33" creationId="{3F873DCE-F848-4C76-92BB-0ADA7753611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08218729" sldId="4833"/>
            <ac:spMk id="36" creationId="{944B016B-E3F4-446F-AE94-8627AFE98DB6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49.148" v="1106" actId="47"/>
        <pc:sldMkLst>
          <pc:docMk/>
          <pc:sldMk cId="710807928" sldId="4834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10807928" sldId="4834"/>
            <ac:spMk id="2" creationId="{192F9D12-CEDA-41F2-99D5-3647C4C1279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10807928" sldId="4834"/>
            <ac:spMk id="7" creationId="{D639809E-15B2-4E15-90A7-6E87F763A66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10807928" sldId="4834"/>
            <ac:spMk id="15" creationId="{4CB51EED-BA60-4E18-81AC-C7A10ED5325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10807928" sldId="4834"/>
            <ac:spMk id="17" creationId="{569A22B0-1621-4B7D-BD98-C14ED8E120F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10807928" sldId="4834"/>
            <ac:spMk id="18" creationId="{4CC0F0AB-66BF-49D6-9594-012C47DE392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10807928" sldId="4834"/>
            <ac:spMk id="19" creationId="{ECBB1C70-99F5-409C-951D-9C475CF086F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10807928" sldId="4834"/>
            <ac:spMk id="22" creationId="{C14F5E77-7EDD-4977-83FB-DF9EF402C58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10807928" sldId="4834"/>
            <ac:spMk id="25" creationId="{4B52E749-8FE2-4786-AF21-34DE584F337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10807928" sldId="4834"/>
            <ac:spMk id="28" creationId="{967C9B44-33C6-489C-A5EA-5E388B429E12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942383849" sldId="4835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42383849" sldId="4835"/>
            <ac:spMk id="2" creationId="{A4CED28F-8477-4316-9364-7FBE9430833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42383849" sldId="4835"/>
            <ac:spMk id="5" creationId="{5D866BC0-AB0B-4E04-AF7A-0A0DD38C614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42383849" sldId="4835"/>
            <ac:spMk id="20" creationId="{85A45603-7719-4572-BDAD-36480CD903F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42383849" sldId="4835"/>
            <ac:spMk id="32" creationId="{41104064-D607-4582-9819-0F2BC285418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42383849" sldId="4835"/>
            <ac:spMk id="34" creationId="{2C85E266-7610-4BA5-832E-2C0595BFC1F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42383849" sldId="4835"/>
            <ac:spMk id="37" creationId="{B3FD5D52-8FB2-4FAA-BF0A-3B223360665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42383849" sldId="4835"/>
            <ac:spMk id="39" creationId="{10128AFD-BE80-4913-A119-012B90FF0D4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42383849" sldId="4835"/>
            <ac:spMk id="41" creationId="{6E598E61-5C7E-4301-A086-84BB377E2BE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42383849" sldId="4835"/>
            <ac:spMk id="45" creationId="{1F520C2A-8383-46EB-82F7-2870703F7FA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42383849" sldId="4835"/>
            <ac:spMk id="46" creationId="{66FEEE28-43E0-4F8D-B6CB-02D17D60235F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49.312" v="1107" actId="47"/>
        <pc:sldMkLst>
          <pc:docMk/>
          <pc:sldMk cId="874999143" sldId="4836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74999143" sldId="4836"/>
            <ac:spMk id="2" creationId="{9ADFA2FE-123B-444E-9510-5FDC9D3675A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74999143" sldId="4836"/>
            <ac:spMk id="14" creationId="{A615D8A5-68CE-4F09-AF3C-12F5233390C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74999143" sldId="4836"/>
            <ac:spMk id="15" creationId="{22152C1F-3755-433B-AD47-DB1111BD2BB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74999143" sldId="4836"/>
            <ac:spMk id="18" creationId="{4CC0F0AB-66BF-49D6-9594-012C47DE392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74999143" sldId="4836"/>
            <ac:spMk id="19" creationId="{ECBB1C70-99F5-409C-951D-9C475CF086F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74999143" sldId="4836"/>
            <ac:spMk id="20" creationId="{3CC6F3DE-8FA7-4E8D-9D1C-E030C4AC1A4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74999143" sldId="4836"/>
            <ac:spMk id="21" creationId="{AC3A9D51-2274-4791-B913-84D4EB1D23B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74999143" sldId="4836"/>
            <ac:spMk id="23" creationId="{6A508309-1B0C-4EDC-9FDF-4CD1D610A8E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74999143" sldId="4836"/>
            <ac:spMk id="24" creationId="{FC3AB5C6-F46B-4B01-8EFD-DF559C90760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74999143" sldId="4836"/>
            <ac:spMk id="25" creationId="{4B52E749-8FE2-4786-AF21-34DE584F3371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49.688" v="1109" actId="47"/>
        <pc:sldMkLst>
          <pc:docMk/>
          <pc:sldMk cId="236577091" sldId="4837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6577091" sldId="4837"/>
            <ac:spMk id="2" creationId="{D5DFA7A5-77FD-4C7B-BBEE-115999C8E69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6577091" sldId="4837"/>
            <ac:spMk id="3" creationId="{3996CB23-F051-42D3-AB8F-3AAD96C5BDC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6577091" sldId="4837"/>
            <ac:spMk id="4" creationId="{B362C900-94A0-44DE-AA69-55B4000930C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6577091" sldId="4837"/>
            <ac:spMk id="5" creationId="{15B796F2-D035-488F-8CDA-07DEE1A0D2E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6577091" sldId="4837"/>
            <ac:spMk id="6" creationId="{9399269B-1BE1-4B87-B546-0CFF3BBE993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6577091" sldId="4837"/>
            <ac:spMk id="8" creationId="{0A32F48D-0BA2-413A-AA81-49798E2E2C0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6577091" sldId="4837"/>
            <ac:spMk id="11" creationId="{C226D3FF-38BB-4C0E-93AE-F6ECA463A10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6577091" sldId="4837"/>
            <ac:spMk id="12" creationId="{1A652ED2-DDC7-47B8-9084-3832806F8C1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6577091" sldId="4837"/>
            <ac:spMk id="13" creationId="{6B26AD8D-A6E0-4FC3-B3E8-7E2EE5A0267E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1:11.938" v="1078" actId="47"/>
        <pc:sldMkLst>
          <pc:docMk/>
          <pc:sldMk cId="1098041745" sldId="4839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98041745" sldId="4839"/>
            <ac:spMk id="2" creationId="{831BAFD5-5375-4B96-B5D5-DB0A97129F1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98041745" sldId="4839"/>
            <ac:spMk id="28" creationId="{B7B95CCF-08B1-4622-83D5-810F58A02B8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98041745" sldId="4839"/>
            <ac:spMk id="29" creationId="{56CA6EEB-2EC2-4B33-AC95-F5CB84B102F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98041745" sldId="4839"/>
            <ac:spMk id="30" creationId="{7D210B25-D349-44B1-969E-374AD4A68DE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98041745" sldId="4839"/>
            <ac:spMk id="32" creationId="{9068EEB3-1458-42EF-81BB-C827593F3BC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98041745" sldId="4839"/>
            <ac:spMk id="33" creationId="{F542F763-4133-4576-B133-1DD62F6E426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98041745" sldId="4839"/>
            <ac:spMk id="90" creationId="{1A8F97AC-8874-440B-9ECD-F3BCCAE9E3E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98041745" sldId="4839"/>
            <ac:spMk id="91" creationId="{2C859C2F-88F0-4252-ADBA-742ADB66640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98041745" sldId="4839"/>
            <ac:spMk id="92" creationId="{823B0E9E-B8CD-4F06-9FFD-AFA9148A2A2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98041745" sldId="4839"/>
            <ac:spMk id="93" creationId="{F0E82FE3-3BC5-4C95-A54A-C7F2312C1732}"/>
          </ac:spMkLst>
        </pc:spChg>
      </pc:sldChg>
      <pc:sldChg chg="addSp delSp modSp mod">
        <pc:chgData name="Jacobo Domenech Agustin" userId="61653385-aed2-4090-aacd-8680af36a6e0" providerId="ADAL" clId="{E8696C2D-FC87-47CC-A9AD-4DDD29F13C82}" dt="2025-09-25T13:57:58.671" v="1267" actId="790"/>
        <pc:sldMkLst>
          <pc:docMk/>
          <pc:sldMk cId="1749681604" sldId="4842"/>
        </pc:sldMkLst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1749681604" sldId="4842"/>
            <ac:spMk id="2" creationId="{85B8FE5C-B36C-42A5-B1F5-66FE663673AE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1749681604" sldId="4842"/>
            <ac:spMk id="3" creationId="{00000000-0000-0000-0000-000000000000}"/>
          </ac:spMkLst>
        </pc:spChg>
        <pc:spChg chg="add del mod">
          <ac:chgData name="Jacobo Domenech Agustin" userId="61653385-aed2-4090-aacd-8680af36a6e0" providerId="ADAL" clId="{E8696C2D-FC87-47CC-A9AD-4DDD29F13C82}" dt="2025-09-25T13:47:20.775" v="982" actId="478"/>
          <ac:spMkLst>
            <pc:docMk/>
            <pc:sldMk cId="1749681604" sldId="4842"/>
            <ac:spMk id="5" creationId="{EBCBF930-DF12-38B6-C81B-66B1A5D31437}"/>
          </ac:spMkLst>
        </pc:spChg>
        <pc:spChg chg="add del 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1749681604" sldId="4842"/>
            <ac:spMk id="6" creationId="{58208920-C4DA-4261-A6FB-F4C339BCDF1C}"/>
          </ac:spMkLst>
        </pc:spChg>
        <pc:spChg chg="add mod">
          <ac:chgData name="Jacobo Domenech Agustin" userId="61653385-aed2-4090-aacd-8680af36a6e0" providerId="ADAL" clId="{E8696C2D-FC87-47CC-A9AD-4DDD29F13C82}" dt="2025-09-25T13:47:44.272" v="986"/>
          <ac:spMkLst>
            <pc:docMk/>
            <pc:sldMk cId="1749681604" sldId="4842"/>
            <ac:spMk id="7" creationId="{C7058454-446F-FC50-D034-D714845FD5FD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1749681604" sldId="4842"/>
            <ac:spMk id="12" creationId="{E99C3A98-3095-4440-80F0-B172C8188E6D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1749681604" sldId="4842"/>
            <ac:spMk id="21" creationId="{F9721B7F-C39D-4F29-9067-69CE35EDF493}"/>
          </ac:spMkLst>
        </pc:spChg>
        <pc:spChg chg="del mod">
          <ac:chgData name="Jacobo Domenech Agustin" userId="61653385-aed2-4090-aacd-8680af36a6e0" providerId="ADAL" clId="{E8696C2D-FC87-47CC-A9AD-4DDD29F13C82}" dt="2025-09-25T13:47:16.727" v="980" actId="478"/>
          <ac:spMkLst>
            <pc:docMk/>
            <pc:sldMk cId="1749681604" sldId="4842"/>
            <ac:spMk id="22" creationId="{87468DF4-C6ED-41F7-B91D-C35D5076A1B3}"/>
          </ac:spMkLst>
        </pc:spChg>
        <pc:spChg chg="del mod">
          <ac:chgData name="Jacobo Domenech Agustin" userId="61653385-aed2-4090-aacd-8680af36a6e0" providerId="ADAL" clId="{E8696C2D-FC87-47CC-A9AD-4DDD29F13C82}" dt="2025-09-25T13:47:14.069" v="979" actId="478"/>
          <ac:spMkLst>
            <pc:docMk/>
            <pc:sldMk cId="1749681604" sldId="4842"/>
            <ac:spMk id="23" creationId="{89805F21-78E6-46C5-B7AC-EB35E69611F7}"/>
          </ac:spMkLst>
        </pc:spChg>
        <pc:spChg chg="del mod">
          <ac:chgData name="Jacobo Domenech Agustin" userId="61653385-aed2-4090-aacd-8680af36a6e0" providerId="ADAL" clId="{E8696C2D-FC87-47CC-A9AD-4DDD29F13C82}" dt="2025-09-25T13:47:25.475" v="984" actId="478"/>
          <ac:spMkLst>
            <pc:docMk/>
            <pc:sldMk cId="1749681604" sldId="4842"/>
            <ac:spMk id="24" creationId="{DAD1A806-3B5D-41FE-A0A2-5BBC7D8AB581}"/>
          </ac:spMkLst>
        </pc:spChg>
        <pc:graphicFrameChg chg="del modGraphic">
          <ac:chgData name="Jacobo Domenech Agustin" userId="61653385-aed2-4090-aacd-8680af36a6e0" providerId="ADAL" clId="{E8696C2D-FC87-47CC-A9AD-4DDD29F13C82}" dt="2025-09-25T13:47:23.291" v="983" actId="478"/>
          <ac:graphicFrameMkLst>
            <pc:docMk/>
            <pc:sldMk cId="1749681604" sldId="4842"/>
            <ac:graphicFrameMk id="18" creationId="{8DCC8D56-0F75-4C67-960E-139817E94EFF}"/>
          </ac:graphicFrameMkLst>
        </pc:graphicFrameChg>
      </pc:sldChg>
      <pc:sldChg chg="addSp delSp modSp mod">
        <pc:chgData name="Jacobo Domenech Agustin" userId="61653385-aed2-4090-aacd-8680af36a6e0" providerId="ADAL" clId="{E8696C2D-FC87-47CC-A9AD-4DDD29F13C82}" dt="2025-09-25T13:57:58.671" v="1267" actId="790"/>
        <pc:sldMkLst>
          <pc:docMk/>
          <pc:sldMk cId="3420837424" sldId="4843"/>
        </pc:sldMkLst>
        <pc:spChg chg="del mod">
          <ac:chgData name="Jacobo Domenech Agustin" userId="61653385-aed2-4090-aacd-8680af36a6e0" providerId="ADAL" clId="{E8696C2D-FC87-47CC-A9AD-4DDD29F13C82}" dt="2025-09-25T13:44:52.603" v="949" actId="478"/>
          <ac:spMkLst>
            <pc:docMk/>
            <pc:sldMk cId="3420837424" sldId="4843"/>
            <ac:spMk id="2" creationId="{4FC94450-54DF-4C4D-BDED-C8265842787A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3420837424" sldId="4843"/>
            <ac:spMk id="3" creationId="{00000000-0000-0000-0000-000000000000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3420837424" sldId="4843"/>
            <ac:spMk id="4" creationId="{17550082-0BDE-4B00-A0C7-505D67374D61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3420837424" sldId="4843"/>
            <ac:spMk id="5" creationId="{8D5B82EA-8734-428E-88E9-57C6D2055D43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3420837424" sldId="4843"/>
            <ac:spMk id="7" creationId="{659B74E6-38D1-49A8-9E88-1C4AAB240B33}"/>
          </ac:spMkLst>
        </pc:spChg>
        <pc:spChg chg="del mod">
          <ac:chgData name="Jacobo Domenech Agustin" userId="61653385-aed2-4090-aacd-8680af36a6e0" providerId="ADAL" clId="{E8696C2D-FC87-47CC-A9AD-4DDD29F13C82}" dt="2025-09-25T13:44:41.687" v="945" actId="478"/>
          <ac:spMkLst>
            <pc:docMk/>
            <pc:sldMk cId="3420837424" sldId="4843"/>
            <ac:spMk id="12" creationId="{B688EFDE-0FA2-47CA-BCEB-B0DA4A2C3853}"/>
          </ac:spMkLst>
        </pc:spChg>
        <pc:spChg chg="del mod">
          <ac:chgData name="Jacobo Domenech Agustin" userId="61653385-aed2-4090-aacd-8680af36a6e0" providerId="ADAL" clId="{E8696C2D-FC87-47CC-A9AD-4DDD29F13C82}" dt="2025-09-25T13:41:53.799" v="910" actId="478"/>
          <ac:spMkLst>
            <pc:docMk/>
            <pc:sldMk cId="3420837424" sldId="4843"/>
            <ac:spMk id="16" creationId="{09647066-CAB2-484E-AAC6-8B33B1A4594A}"/>
          </ac:spMkLst>
        </pc:spChg>
        <pc:graphicFrameChg chg="del modGraphic">
          <ac:chgData name="Jacobo Domenech Agustin" userId="61653385-aed2-4090-aacd-8680af36a6e0" providerId="ADAL" clId="{E8696C2D-FC87-47CC-A9AD-4DDD29F13C82}" dt="2025-09-25T13:44:44.158" v="947" actId="478"/>
          <ac:graphicFrameMkLst>
            <pc:docMk/>
            <pc:sldMk cId="3420837424" sldId="4843"/>
            <ac:graphicFrameMk id="14" creationId="{BC2F25AE-3D82-4CC2-B956-97278EB8308C}"/>
          </ac:graphicFrameMkLst>
        </pc:graphicFrameChg>
        <pc:picChg chg="add mod">
          <ac:chgData name="Jacobo Domenech Agustin" userId="61653385-aed2-4090-aacd-8680af36a6e0" providerId="ADAL" clId="{E8696C2D-FC87-47CC-A9AD-4DDD29F13C82}" dt="2025-09-25T13:44:57.533" v="961" actId="1035"/>
          <ac:picMkLst>
            <pc:docMk/>
            <pc:sldMk cId="3420837424" sldId="4843"/>
            <ac:picMk id="8" creationId="{1FF5B788-F7B5-5BB5-6AA0-DB247F44C344}"/>
          </ac:picMkLst>
        </pc:picChg>
      </pc:sldChg>
      <pc:sldChg chg="modSp del mod">
        <pc:chgData name="Jacobo Domenech Agustin" userId="61653385-aed2-4090-aacd-8680af36a6e0" providerId="ADAL" clId="{E8696C2D-FC87-47CC-A9AD-4DDD29F13C82}" dt="2025-09-25T13:50:35.924" v="1075" actId="47"/>
        <pc:sldMkLst>
          <pc:docMk/>
          <pc:sldMk cId="3414160639" sldId="4844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4160639" sldId="4844"/>
            <ac:spMk id="4" creationId="{E8FBDBC3-C24D-41A7-B2ED-E5CF2D811EB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4160639" sldId="4844"/>
            <ac:spMk id="5" creationId="{52DEEDDF-F42B-4C2E-8D6B-2C7A27376E9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4160639" sldId="4844"/>
            <ac:spMk id="7" creationId="{95E7389F-B2AE-4415-9303-698C7C18D17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4160639" sldId="4844"/>
            <ac:spMk id="8" creationId="{3549B1C0-CA34-4AD2-A957-82677A8B3E3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4160639" sldId="4844"/>
            <ac:spMk id="10" creationId="{59494C9E-86E4-42A9-9040-3DF51BC3B1D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4160639" sldId="4844"/>
            <ac:spMk id="11" creationId="{13FD7375-BE3F-4FF5-A6C2-CAD2968EDC9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4160639" sldId="4844"/>
            <ac:spMk id="12" creationId="{B373F90D-9B72-4D66-91B9-9D15E2F7139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14160639" sldId="4844"/>
            <ac:spMk id="14" creationId="{C7CEFEFE-1F50-4AB6-9755-8663236F5FD5}"/>
          </ac:spMkLst>
        </pc:spChg>
        <pc:graphicFrameChg chg="modGraphic">
          <ac:chgData name="Jacobo Domenech Agustin" userId="61653385-aed2-4090-aacd-8680af36a6e0" providerId="ADAL" clId="{E8696C2D-FC87-47CC-A9AD-4DDD29F13C82}" dt="2025-09-25T13:30:55.488" v="83" actId="790"/>
          <ac:graphicFrameMkLst>
            <pc:docMk/>
            <pc:sldMk cId="3414160639" sldId="4844"/>
            <ac:graphicFrameMk id="6" creationId="{50B0435E-C2CA-4A11-8579-B66A6A7CE30B}"/>
          </ac:graphicFrameMkLst>
        </pc:graphicFrameChg>
      </pc:sldChg>
      <pc:sldChg chg="modSp del mod">
        <pc:chgData name="Jacobo Domenech Agustin" userId="61653385-aed2-4090-aacd-8680af36a6e0" providerId="ADAL" clId="{E8696C2D-FC87-47CC-A9AD-4DDD29F13C82}" dt="2025-09-25T13:50:29.991" v="1074" actId="47"/>
        <pc:sldMkLst>
          <pc:docMk/>
          <pc:sldMk cId="758721144" sldId="4845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8721144" sldId="4845"/>
            <ac:spMk id="2" creationId="{B0E0AA3A-6FFB-4902-8035-A1E7E0BEFF1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8721144" sldId="4845"/>
            <ac:spMk id="3" creationId="{00000000-0000-0000-0000-00000000000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8721144" sldId="4845"/>
            <ac:spMk id="4" creationId="{6967E40F-9824-4A9A-8CEE-8351EFBD62F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8721144" sldId="4845"/>
            <ac:spMk id="10" creationId="{EEF0B3D6-B300-4AAB-BF11-3291F6DCF88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8721144" sldId="4845"/>
            <ac:spMk id="12" creationId="{26BF4EF6-ABF5-465B-811B-F56DB6EACB5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8721144" sldId="4845"/>
            <ac:spMk id="13" creationId="{8FA6A5CD-7DEF-428B-9921-F96D0625E65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8721144" sldId="4845"/>
            <ac:spMk id="21" creationId="{F9721B7F-C39D-4F29-9067-69CE35EDF49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758721144" sldId="4845"/>
            <ac:spMk id="22" creationId="{87468DF4-C6ED-41F7-B91D-C35D5076A1B3}"/>
          </ac:spMkLst>
        </pc:spChg>
        <pc:graphicFrameChg chg="modGraphic">
          <ac:chgData name="Jacobo Domenech Agustin" userId="61653385-aed2-4090-aacd-8680af36a6e0" providerId="ADAL" clId="{E8696C2D-FC87-47CC-A9AD-4DDD29F13C82}" dt="2025-09-25T13:30:55.488" v="83" actId="790"/>
          <ac:graphicFrameMkLst>
            <pc:docMk/>
            <pc:sldMk cId="758721144" sldId="4845"/>
            <ac:graphicFrameMk id="18" creationId="{8DCC8D56-0F75-4C67-960E-139817E94EFF}"/>
          </ac:graphicFrameMkLst>
        </pc:graphicFrameChg>
      </pc:sldChg>
      <pc:sldChg chg="modSp del mod">
        <pc:chgData name="Jacobo Domenech Agustin" userId="61653385-aed2-4090-aacd-8680af36a6e0" providerId="ADAL" clId="{E8696C2D-FC87-47CC-A9AD-4DDD29F13C82}" dt="2025-09-25T13:55:50.771" v="1113" actId="47"/>
        <pc:sldMkLst>
          <pc:docMk/>
          <pc:sldMk cId="3693181539" sldId="4847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93181539" sldId="4847"/>
            <ac:spMk id="31" creationId="{D47EB548-7973-4FFC-B967-63DC95FCDF0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93181539" sldId="4847"/>
            <ac:spMk id="47" creationId="{25E7CF2E-8766-4345-94BE-E6EA2DBA820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93181539" sldId="4847"/>
            <ac:spMk id="61" creationId="{2A2BF83A-E0C4-44B3-ADE8-AE756AE4ABD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93181539" sldId="4847"/>
            <ac:spMk id="62" creationId="{8DFF94D9-EB46-4082-9B0C-C4D0908FA9D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93181539" sldId="4847"/>
            <ac:spMk id="64" creationId="{B2D0FFA9-608A-4F53-8334-DE631B2980C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93181539" sldId="4847"/>
            <ac:spMk id="72" creationId="{0487870B-36BF-4A48-B924-625A1D8CDAD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93181539" sldId="4847"/>
            <ac:spMk id="87" creationId="{4D94BCDC-F190-4D8E-92A5-AAF1BB8A939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93181539" sldId="4847"/>
            <ac:spMk id="94" creationId="{AFECA511-DE09-4AA9-A967-99AA19EE6F2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93181539" sldId="4847"/>
            <ac:spMk id="105" creationId="{26F33FCF-BCBB-4660-9EF2-719D14D239F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93181539" sldId="4847"/>
            <ac:spMk id="123" creationId="{0A0A31DB-DD27-4F64-AB8C-EC7887B70CFD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1.329" v="1114" actId="47"/>
        <pc:sldMkLst>
          <pc:docMk/>
          <pc:sldMk cId="1486272674" sldId="4848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86272674" sldId="4848"/>
            <ac:spMk id="2" creationId="{393D23C1-542F-4CD2-A800-6B6AC0B3480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86272674" sldId="4848"/>
            <ac:spMk id="3" creationId="{6E9B5C9E-B9B7-4F46-9473-17D894A622C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86272674" sldId="4848"/>
            <ac:spMk id="11" creationId="{9A8B07E0-DC0F-4428-BF18-D5C5D97CD87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86272674" sldId="4848"/>
            <ac:spMk id="12" creationId="{FBCC62D0-1512-476C-8F4B-7D09EE28604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86272674" sldId="4848"/>
            <ac:spMk id="13" creationId="{DDFB4535-28B0-46E8-BF56-A56187A4144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86272674" sldId="4848"/>
            <ac:spMk id="14" creationId="{C0C46C4B-ECBE-47F1-BAE5-2F117B8F9F8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86272674" sldId="4848"/>
            <ac:spMk id="16" creationId="{D9ABAF78-1F04-4E3D-BAE0-FE47E819B9A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86272674" sldId="4848"/>
            <ac:spMk id="17" creationId="{7D07D702-3E80-475D-BE0E-CF1DC77014E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486272674" sldId="4848"/>
            <ac:spMk id="18" creationId="{304C492D-80A8-4FAC-B57F-B8117485AC1C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0.294" v="1112" actId="47"/>
        <pc:sldMkLst>
          <pc:docMk/>
          <pc:sldMk cId="2327334602" sldId="4849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27334602" sldId="4849"/>
            <ac:spMk id="80" creationId="{E46F8970-5F4E-4D37-A7AE-7FF00488784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27334602" sldId="4849"/>
            <ac:spMk id="88" creationId="{B5193D79-5830-4626-864C-B215FBDDFEB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27334602" sldId="4849"/>
            <ac:spMk id="94" creationId="{42E61266-8CAA-415B-92D3-23BC9D3AE27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27334602" sldId="4849"/>
            <ac:spMk id="110" creationId="{B287673E-91FC-4B24-A8F5-EE3FF642C84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27334602" sldId="4849"/>
            <ac:spMk id="115" creationId="{013FC31C-044D-4A78-B8CA-4CF435D2E4F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27334602" sldId="4849"/>
            <ac:spMk id="123" creationId="{25966D23-DCF3-4C85-A883-6039FD11953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27334602" sldId="4849"/>
            <ac:spMk id="127" creationId="{E7021277-FF9E-4BD4-B1C7-B951DE2E7BF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27334602" sldId="4849"/>
            <ac:spMk id="131" creationId="{A8D17B73-CF20-4F3A-A689-FF81E6ADDC5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27334602" sldId="4849"/>
            <ac:spMk id="134" creationId="{B23E0CE4-EC90-4940-B1EF-AF97D91B65E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27334602" sldId="4849"/>
            <ac:spMk id="139" creationId="{2287A416-1929-4079-971A-8136DB7F8886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1.536" v="1115" actId="47"/>
        <pc:sldMkLst>
          <pc:docMk/>
          <pc:sldMk cId="3517714761" sldId="4850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17714761" sldId="4850"/>
            <ac:spMk id="3" creationId="{2E6F2F30-1E27-4349-BE43-5979B037490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17714761" sldId="4850"/>
            <ac:spMk id="7" creationId="{A1294CF8-E8FD-4E5F-8A86-524E3A1B88B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17714761" sldId="4850"/>
            <ac:spMk id="8" creationId="{6EFEB0B0-3270-45EE-852D-8721A8D1590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17714761" sldId="4850"/>
            <ac:spMk id="14" creationId="{EB5222E3-A4F6-4FEB-9276-EDC356E4A32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17714761" sldId="4850"/>
            <ac:spMk id="23" creationId="{571DE1A1-EEB4-4B89-B9BF-37044946071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17714761" sldId="4850"/>
            <ac:spMk id="24" creationId="{FC62EE1C-0B3B-4DAC-98A6-00ECDCA56BF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17714761" sldId="4850"/>
            <ac:spMk id="32" creationId="{3AFFF1D5-E863-4982-A254-B1DC6159E63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17714761" sldId="4850"/>
            <ac:spMk id="34" creationId="{CA13F8F3-FFF3-4E15-A0A8-7B6682EC75A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17714761" sldId="4850"/>
            <ac:spMk id="38" creationId="{2A44C1C8-FCA4-47DF-965B-51870477693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17714761" sldId="4850"/>
            <ac:spMk id="42" creationId="{8A70A738-E54E-453C-B332-17A061D796E3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1.747" v="1116" actId="47"/>
        <pc:sldMkLst>
          <pc:docMk/>
          <pc:sldMk cId="4036070770" sldId="4851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36070770" sldId="4851"/>
            <ac:spMk id="2" creationId="{485EE4DA-7AB1-4C82-8D94-C2096687D9C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36070770" sldId="4851"/>
            <ac:spMk id="3" creationId="{7969FABD-0E5D-4A29-9A23-0AB685F3728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36070770" sldId="4851"/>
            <ac:spMk id="7" creationId="{7FBDDE67-0539-46D5-AB4F-A44D13A29BBE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2.537" v="1120" actId="47"/>
        <pc:sldMkLst>
          <pc:docMk/>
          <pc:sldMk cId="3899160140" sldId="4852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899160140" sldId="4852"/>
            <ac:spMk id="5" creationId="{3B684F88-9991-4105-B064-DA89F0C8677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899160140" sldId="4852"/>
            <ac:spMk id="10" creationId="{495E5378-236E-4306-8573-3ED26F31738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899160140" sldId="4852"/>
            <ac:spMk id="13" creationId="{21878797-4374-4E64-945C-640ADD64AF1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899160140" sldId="4852"/>
            <ac:spMk id="16" creationId="{7BA5B7A1-AE73-45A6-8364-7072E8243DD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899160140" sldId="4852"/>
            <ac:spMk id="19" creationId="{AF11564C-4AE9-4705-BEBF-8AFDF976BF4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899160140" sldId="4852"/>
            <ac:spMk id="20" creationId="{745EC586-5B82-4F97-B42A-9562F5CD1F9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899160140" sldId="4852"/>
            <ac:spMk id="22" creationId="{02F958FF-572E-4AC2-BCDE-53C85C7FA9F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899160140" sldId="4852"/>
            <ac:spMk id="24" creationId="{5D46A17B-5F1E-48AD-9D97-C90C27435E4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899160140" sldId="4852"/>
            <ac:spMk id="26" creationId="{0C7E57A8-9814-4C1F-8784-7B5EC4E5656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899160140" sldId="4852"/>
            <ac:spMk id="30" creationId="{4D3E3228-9D81-4251-96A5-5BD37CB73F93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2.910" v="1122" actId="47"/>
        <pc:sldMkLst>
          <pc:docMk/>
          <pc:sldMk cId="2664639049" sldId="4853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64639049" sldId="4853"/>
            <ac:spMk id="2" creationId="{12453FC8-7880-4FCF-B194-30D236B3581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64639049" sldId="4853"/>
            <ac:spMk id="4" creationId="{51010D35-4C20-4CC5-ADC8-E737D463F94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64639049" sldId="4853"/>
            <ac:spMk id="5" creationId="{D18D7914-6037-43DD-8544-B0D141710B0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64639049" sldId="4853"/>
            <ac:spMk id="8" creationId="{9C9815DD-814E-4CCD-85DC-E94D6806139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64639049" sldId="4853"/>
            <ac:spMk id="13" creationId="{EF8991DC-6BB0-48CE-BE82-CB4552E9FFA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64639049" sldId="4853"/>
            <ac:spMk id="23" creationId="{F6C32FF8-5BA1-4E5E-8AE6-46E257EBB6B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64639049" sldId="4853"/>
            <ac:spMk id="26" creationId="{B162DA9E-4D5B-4789-958E-632D1E926A4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64639049" sldId="4853"/>
            <ac:spMk id="27" creationId="{D9D15D55-9507-4771-8A35-D837E18FDB6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64639049" sldId="4853"/>
            <ac:spMk id="29" creationId="{345ABF5A-B9D4-4BFC-80F7-97497EC256E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64639049" sldId="4853"/>
            <ac:spMk id="32" creationId="{EC611326-E5C4-4F58-B4F8-503C40FFE962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9.467" v="1202" actId="47"/>
        <pc:sldMkLst>
          <pc:docMk/>
          <pc:sldMk cId="2614933476" sldId="4854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14933476" sldId="4854"/>
            <ac:spMk id="2" creationId="{137E0521-9138-4469-B7E8-DCB0DCBD02B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14933476" sldId="4854"/>
            <ac:spMk id="3" creationId="{0A91343C-0DAD-43A7-87C0-3CC92445D5C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14933476" sldId="4854"/>
            <ac:spMk id="12" creationId="{BE0655AC-DF6F-4218-85DA-BA7BA4DA9FE4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1:03.583" v="1077" actId="2696"/>
        <pc:sldMkLst>
          <pc:docMk/>
          <pc:sldMk cId="2630728700" sldId="1881838494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30728700" sldId="1881838494"/>
            <ac:spMk id="18" creationId="{275058DC-C702-4C86-9BBB-2F2AA186EE0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30728700" sldId="1881838494"/>
            <ac:spMk id="21" creationId="{BC5A1B23-C6B5-4212-BF44-2B964C4B13D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30728700" sldId="1881838494"/>
            <ac:spMk id="24" creationId="{B690AB2C-BD38-45C0-AA16-EA64518B5F2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30728700" sldId="1881838494"/>
            <ac:spMk id="25" creationId="{08BD8283-9C59-41DB-B05E-4FB6E9F9EFC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30728700" sldId="1881838494"/>
            <ac:spMk id="27" creationId="{453B5F5D-DFFA-4AF6-8126-5FFD7EBA77D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30728700" sldId="1881838494"/>
            <ac:spMk id="28" creationId="{C3EAD1FF-1C64-4342-9DEA-3E1F8CBE304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30728700" sldId="1881838494"/>
            <ac:spMk id="29" creationId="{5D5C740D-7D8F-4214-898E-B23C5D2F387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30728700" sldId="1881838494"/>
            <ac:spMk id="30" creationId="{6067A477-F7FB-4A23-A1F3-5B3291E3727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30728700" sldId="1881838494"/>
            <ac:spMk id="32" creationId="{412B4DD3-FC48-40C1-A8FC-647F1E717C0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30728700" sldId="1881838494"/>
            <ac:spMk id="37" creationId="{0BA31261-7C27-4468-BE6F-3F4E4E7AABE8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8.330" v="1150" actId="47"/>
        <pc:sldMkLst>
          <pc:docMk/>
          <pc:sldMk cId="3605882518" sldId="1881838499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05882518" sldId="1881838499"/>
            <ac:spMk id="3" creationId="{835AB420-6216-4A80-92B7-A4B4800F2C7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05882518" sldId="1881838499"/>
            <ac:spMk id="10" creationId="{ADC6C971-460E-48C2-BB05-81C3F062EA6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05882518" sldId="1881838499"/>
            <ac:spMk id="17" creationId="{A23387F5-6A80-491A-8801-6049BCFE939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05882518" sldId="1881838499"/>
            <ac:spMk id="27" creationId="{1E5441FA-E672-4EFE-95E0-D6A4FC7BD87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05882518" sldId="1881838499"/>
            <ac:spMk id="28" creationId="{EFDB63A0-BE65-47C7-A1D3-DF43834B14B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05882518" sldId="1881838499"/>
            <ac:spMk id="40" creationId="{EDCED26A-B3F3-4821-BFA7-FE01CB1DFEF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05882518" sldId="1881838499"/>
            <ac:spMk id="48" creationId="{FC988D67-885A-4374-81A0-9FCF2D43728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05882518" sldId="1881838499"/>
            <ac:spMk id="51" creationId="{B1CA6BEA-E288-4E79-8599-6C1D35A697A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05882518" sldId="1881838499"/>
            <ac:spMk id="58" creationId="{702E78E7-D314-4BFB-9D18-1AD9DDF02DF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05882518" sldId="1881838499"/>
            <ac:spMk id="59" creationId="{F8A33D5B-2ACF-4F70-B3F5-1FBF7319279C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8.537" v="1151" actId="47"/>
        <pc:sldMkLst>
          <pc:docMk/>
          <pc:sldMk cId="4029689283" sldId="1881838500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29689283" sldId="1881838500"/>
            <ac:spMk id="4" creationId="{F4892382-5933-4A9A-AE97-2A2F63AAD8D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29689283" sldId="1881838500"/>
            <ac:spMk id="7" creationId="{AC9EC5AF-AF1D-468C-A5A8-1D989957AB5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29689283" sldId="1881838500"/>
            <ac:spMk id="8" creationId="{799B1F76-6E16-4739-B6B0-B99375B3954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29689283" sldId="1881838500"/>
            <ac:spMk id="12" creationId="{C157FBF3-0720-4028-9B30-1368F932C62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29689283" sldId="1881838500"/>
            <ac:spMk id="13" creationId="{09C14FF7-7768-4C80-BB2C-662116DA50D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29689283" sldId="1881838500"/>
            <ac:spMk id="15" creationId="{4D940401-3504-4345-BC36-41C6D09A112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29689283" sldId="1881838500"/>
            <ac:spMk id="16" creationId="{2DD16213-16DF-418E-B70F-359A1A506C7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29689283" sldId="1881838500"/>
            <ac:spMk id="17" creationId="{F8AFCCC8-CE2C-465B-B3FA-4A9AD0B9E6E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29689283" sldId="1881838500"/>
            <ac:spMk id="18" creationId="{D149DABE-6016-4B10-BBB0-06FBCCB1B84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29689283" sldId="1881838500"/>
            <ac:spMk id="19" creationId="{5290DA8B-E0F6-4A15-9E22-6BD51300C414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8.717" v="1152" actId="47"/>
        <pc:sldMkLst>
          <pc:docMk/>
          <pc:sldMk cId="3232628383" sldId="1881838501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232628383" sldId="1881838501"/>
            <ac:spMk id="6" creationId="{00B79066-8F9A-4AB7-99B0-25D52F8682B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232628383" sldId="1881838501"/>
            <ac:spMk id="9" creationId="{70F5C5E7-542E-4B3B-BD99-7B0150E0175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232628383" sldId="1881838501"/>
            <ac:spMk id="12" creationId="{DC4FF9F7-E4F4-450A-BE1A-8C520740A6E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232628383" sldId="1881838501"/>
            <ac:spMk id="13" creationId="{2AAAB464-BEF8-493B-ADA9-72AE1F6AAA4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232628383" sldId="1881838501"/>
            <ac:spMk id="14" creationId="{CA145975-C855-4D01-A06B-E77B53E2830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232628383" sldId="1881838501"/>
            <ac:spMk id="15" creationId="{E2DD3ACB-69B6-4F8D-8E47-CD3D5C979A1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232628383" sldId="1881838501"/>
            <ac:spMk id="16" creationId="{D1BED50D-EA2F-4534-BBD9-4EE3147A957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232628383" sldId="1881838501"/>
            <ac:spMk id="17" creationId="{686A85B9-E925-4B8F-91E2-D485501245C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232628383" sldId="1881838501"/>
            <ac:spMk id="19" creationId="{12CBB214-A39A-4124-9F23-8F126CB34FE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232628383" sldId="1881838501"/>
            <ac:spMk id="21" creationId="{868E3143-31F9-4FA5-A412-E002578F8B5A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8.140" v="1149" actId="47"/>
        <pc:sldMkLst>
          <pc:docMk/>
          <pc:sldMk cId="230731162" sldId="1881838502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0731162" sldId="1881838502"/>
            <ac:spMk id="3" creationId="{AF3E5C99-4480-42BA-A1C2-E43FA2E94D9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0731162" sldId="1881838502"/>
            <ac:spMk id="32" creationId="{C87F3363-915B-4450-8CDD-FFF59FA8000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0731162" sldId="1881838502"/>
            <ac:spMk id="33" creationId="{58B12527-1203-4B22-AC04-F35658326A7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0731162" sldId="1881838502"/>
            <ac:spMk id="36" creationId="{4E9B86F3-D588-43A0-A599-F44F52343A5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0731162" sldId="1881838502"/>
            <ac:spMk id="37" creationId="{13AF0F43-8E39-42BE-9173-AE8D6CEC2CB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0731162" sldId="1881838502"/>
            <ac:spMk id="38" creationId="{967BFA8E-DDF2-43C0-A344-52B522B3E5A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0731162" sldId="1881838502"/>
            <ac:spMk id="39" creationId="{6DB0A369-0A04-4FE2-BE6D-4D54296BFA2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0731162" sldId="1881838502"/>
            <ac:spMk id="41" creationId="{3D2E3D32-351A-449A-9438-69A288BC00A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0731162" sldId="1881838502"/>
            <ac:spMk id="46" creationId="{F8D88E4C-1AAB-4356-B392-A87813A309B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0731162" sldId="1881838502"/>
            <ac:spMk id="61" creationId="{5CE3A993-05BA-4AF3-BF73-4E61A2796B96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7.939" v="1148" actId="47"/>
        <pc:sldMkLst>
          <pc:docMk/>
          <pc:sldMk cId="2149779913" sldId="1881838503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49779913" sldId="1881838503"/>
            <ac:spMk id="2" creationId="{FE1407D7-FAE6-423A-AAB9-6BE58C11020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49779913" sldId="1881838503"/>
            <ac:spMk id="3" creationId="{41A476F0-8E27-48A9-AE58-25B71BD89E0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49779913" sldId="1881838503"/>
            <ac:spMk id="9" creationId="{0DE67E31-A296-4423-B15C-74593EAB029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49779913" sldId="1881838503"/>
            <ac:spMk id="11" creationId="{00283A04-57E5-4BEA-98B8-C01C21E0297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49779913" sldId="1881838503"/>
            <ac:spMk id="17" creationId="{E050E03D-A442-43DC-961F-627FB2C4DA5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49779913" sldId="1881838503"/>
            <ac:spMk id="20" creationId="{366805C8-156E-4827-8F2C-54B39E19A16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49779913" sldId="1881838503"/>
            <ac:spMk id="22" creationId="{EBE54620-B618-4464-A743-41F1655AF44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49779913" sldId="1881838503"/>
            <ac:spMk id="23" creationId="{0C661E95-A6FB-488F-9EE1-A544400A69B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49779913" sldId="1881838503"/>
            <ac:spMk id="24" creationId="{8A1AF125-2927-4E34-AB4E-3945108F9CE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49779913" sldId="1881838503"/>
            <ac:spMk id="36" creationId="{FD44F49D-62E2-4DD0-AA9E-1CD3EFDBD9E2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7.742" v="1147" actId="47"/>
        <pc:sldMkLst>
          <pc:docMk/>
          <pc:sldMk cId="1306280647" sldId="1881838504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06280647" sldId="1881838504"/>
            <ac:spMk id="2" creationId="{FE1407D7-FAE6-423A-AAB9-6BE58C11020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06280647" sldId="1881838504"/>
            <ac:spMk id="3" creationId="{8E06FC43-9E2D-4FF5-A034-7DF19C2F746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06280647" sldId="1881838504"/>
            <ac:spMk id="6" creationId="{11DB5871-A10F-409E-90A5-3891A37FE7E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06280647" sldId="1881838504"/>
            <ac:spMk id="8" creationId="{0781670C-C4AA-4B86-ABC3-CBEC85EAA31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06280647" sldId="1881838504"/>
            <ac:spMk id="9" creationId="{4B602789-64AA-4794-A497-F6ABFDA561C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06280647" sldId="1881838504"/>
            <ac:spMk id="11" creationId="{3FDCB7D3-DE05-48FC-B154-53713354B16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06280647" sldId="1881838504"/>
            <ac:spMk id="12" creationId="{838ECE59-7D2D-48E7-B059-9DF86D906D4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06280647" sldId="1881838504"/>
            <ac:spMk id="16" creationId="{A13F9AB7-FCEE-4E51-BD67-FCA4EFB5622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06280647" sldId="1881838504"/>
            <ac:spMk id="17" creationId="{6FBC77A2-84D3-47A0-968C-9A3A074A08C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06280647" sldId="1881838504"/>
            <ac:spMk id="18" creationId="{22EEB871-3868-46C3-A634-49C6F2AC46AE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7.534" v="1146" actId="47"/>
        <pc:sldMkLst>
          <pc:docMk/>
          <pc:sldMk cId="2173588772" sldId="1881838505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73588772" sldId="1881838505"/>
            <ac:spMk id="2" creationId="{FE1407D7-FAE6-423A-AAB9-6BE58C11020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73588772" sldId="1881838505"/>
            <ac:spMk id="3" creationId="{80938FC9-DC87-4E84-BFCA-F6A91E4EE86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73588772" sldId="1881838505"/>
            <ac:spMk id="11" creationId="{46350B3A-CDA5-4FF9-82C3-181CCAE67CF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73588772" sldId="1881838505"/>
            <ac:spMk id="14" creationId="{657CA0D6-91F6-4355-AF64-71EBAA8962F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73588772" sldId="1881838505"/>
            <ac:spMk id="15" creationId="{3D3FF9F7-71BB-4D68-855A-955FFC67763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73588772" sldId="1881838505"/>
            <ac:spMk id="16" creationId="{589C65B2-CD11-4A4F-BB84-A9823A20BE8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73588772" sldId="1881838505"/>
            <ac:spMk id="19" creationId="{BAE089D4-9F63-48C9-9273-53429E85BCF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73588772" sldId="1881838505"/>
            <ac:spMk id="25" creationId="{05B08706-8C81-4BAF-82DD-2BC8B98A0BE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73588772" sldId="1881838505"/>
            <ac:spMk id="26" creationId="{2A6E3305-221F-414E-B9B2-B6791EC293E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73588772" sldId="1881838505"/>
            <ac:spMk id="29" creationId="{B4A948DB-6EC0-4168-8803-76EB02B86B21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7.328" v="1145" actId="47"/>
        <pc:sldMkLst>
          <pc:docMk/>
          <pc:sldMk cId="2261736563" sldId="1881838506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1736563" sldId="1881838506"/>
            <ac:spMk id="2" creationId="{FE1407D7-FAE6-423A-AAB9-6BE58C11020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1736563" sldId="1881838506"/>
            <ac:spMk id="24" creationId="{AB8EF349-329E-4482-A798-CD2CBCE1B63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1736563" sldId="1881838506"/>
            <ac:spMk id="48" creationId="{4A9F55AA-00E1-4812-831C-01BBC4E0FB9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1736563" sldId="1881838506"/>
            <ac:spMk id="65" creationId="{8EA74B9A-AE3D-4A74-A439-FC4A33716F7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1736563" sldId="1881838506"/>
            <ac:spMk id="66" creationId="{C392BE13-6EAF-458F-A725-83218961119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1736563" sldId="1881838506"/>
            <ac:spMk id="71" creationId="{B453D365-DD86-496F-BFF9-06346787AD4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1736563" sldId="1881838506"/>
            <ac:spMk id="75" creationId="{3B3D3260-1BD1-4D25-8D96-835488D2DF3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1736563" sldId="1881838506"/>
            <ac:spMk id="83" creationId="{58C2324D-8A8A-4DD8-B986-5595A5436F4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1736563" sldId="1881838506"/>
            <ac:spMk id="99" creationId="{F4785A7A-A5E0-46FC-8072-606ABBD9AAF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1736563" sldId="1881838506"/>
            <ac:spMk id="100" creationId="{435DC940-8F3D-44E8-8B56-6CA25E39AB05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7.135" v="1144" actId="47"/>
        <pc:sldMkLst>
          <pc:docMk/>
          <pc:sldMk cId="2365429217" sldId="1881838507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65429217" sldId="1881838507"/>
            <ac:spMk id="5" creationId="{6C428E13-D725-4C71-BCDB-183957B33E3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65429217" sldId="1881838507"/>
            <ac:spMk id="6" creationId="{4809B243-012D-4B44-BFBC-BD8F505F1A8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65429217" sldId="1881838507"/>
            <ac:spMk id="8" creationId="{17C74671-BDE7-428A-B514-8237B807F93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65429217" sldId="1881838507"/>
            <ac:spMk id="10" creationId="{E545889C-6D38-484B-8A1F-8FAC755E294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65429217" sldId="1881838507"/>
            <ac:spMk id="12" creationId="{B909889A-4920-460A-AC39-4D84F20231B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65429217" sldId="1881838507"/>
            <ac:spMk id="20" creationId="{B1E6FBD0-ADA8-4684-8E38-8233D347991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65429217" sldId="1881838507"/>
            <ac:spMk id="58" creationId="{ACACFDFE-2E12-40E3-8DB6-DF127F7958D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65429217" sldId="1881838507"/>
            <ac:spMk id="102" creationId="{8361970F-8E66-46F8-93CB-BE24F8EF063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65429217" sldId="1881838507"/>
            <ac:spMk id="103" creationId="{7BF957C3-3556-4EF3-86D7-64CC7203ACE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65429217" sldId="1881838507"/>
            <ac:spMk id="107" creationId="{0B7D1F12-87D8-4CEF-9A17-ACD2DF45F3BD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8.884" v="1153" actId="47"/>
        <pc:sldMkLst>
          <pc:docMk/>
          <pc:sldMk cId="1381075682" sldId="1881838508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81075682" sldId="1881838508"/>
            <ac:spMk id="2" creationId="{FE1407D7-FAE6-423A-AAB9-6BE58C11020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81075682" sldId="1881838508"/>
            <ac:spMk id="29" creationId="{176EBF28-306F-4651-90A4-F1ABA3943B0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81075682" sldId="1881838508"/>
            <ac:spMk id="33" creationId="{B224C9C0-A299-42A7-8013-B4F12C9D708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81075682" sldId="1881838508"/>
            <ac:spMk id="69" creationId="{384E44B2-BD66-4A96-8EE6-18A629260A2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81075682" sldId="1881838508"/>
            <ac:spMk id="91" creationId="{8B029B5F-9AEA-4428-84C2-3576E322D3F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81075682" sldId="1881838508"/>
            <ac:spMk id="110" creationId="{9371599B-E015-43A8-943A-783AED46A98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81075682" sldId="1881838508"/>
            <ac:spMk id="169" creationId="{9FC4437C-BA61-46DC-8821-7030B547FB3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81075682" sldId="1881838508"/>
            <ac:spMk id="175" creationId="{A4592049-9C14-49A7-AC00-96669BF4137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81075682" sldId="1881838508"/>
            <ac:spMk id="182" creationId="{F40EA53E-DCD5-428B-A16A-6BFF142672D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381075682" sldId="1881838508"/>
            <ac:spMk id="184" creationId="{6B71A057-6A0A-44CE-B21D-8BD33CBF70FE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48.632" v="1103" actId="47"/>
        <pc:sldMkLst>
          <pc:docMk/>
          <pc:sldMk cId="1652451049" sldId="1881838509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52451049" sldId="1881838509"/>
            <ac:spMk id="24" creationId="{AF2DA2C8-D4AF-4AA2-B8D8-062BBE4CC91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52451049" sldId="1881838509"/>
            <ac:spMk id="55" creationId="{7504A0D4-3B73-4687-9CF4-B8B59C6B0CD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52451049" sldId="1881838509"/>
            <ac:spMk id="57" creationId="{2052A3ED-7718-4A2A-941E-C8D3F64A851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52451049" sldId="1881838509"/>
            <ac:spMk id="59" creationId="{385BAD40-A740-4521-AC7E-C3E22E2FD6A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52451049" sldId="1881838509"/>
            <ac:spMk id="60" creationId="{5F959EB5-C8BB-429A-8AA1-90FA2EDDA3E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52451049" sldId="1881838509"/>
            <ac:spMk id="64" creationId="{D19E87F6-6404-4D2A-B312-DBDEB4F5F65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52451049" sldId="1881838509"/>
            <ac:spMk id="66" creationId="{7653BF8F-FDE1-4254-B852-F9B4D261CFC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52451049" sldId="1881838509"/>
            <ac:spMk id="68" creationId="{2B99CF56-8D41-4910-B8D9-7B80F6D920B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52451049" sldId="1881838509"/>
            <ac:spMk id="69" creationId="{DFBA2A38-9B6A-4C56-85A0-DCBAF2D07EE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52451049" sldId="1881838509"/>
            <ac:spMk id="70" creationId="{67C6FC27-B7D8-4833-AEFE-594B12329CD4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48.227" v="1101" actId="47"/>
        <pc:sldMkLst>
          <pc:docMk/>
          <pc:sldMk cId="3857508590" sldId="1881838510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857508590" sldId="1881838510"/>
            <ac:spMk id="2" creationId="{1FC7D820-9D5B-46EC-AEB3-0C8D34495EA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857508590" sldId="1881838510"/>
            <ac:spMk id="3" creationId="{9E6DF1B0-6AD2-43AD-8DDE-4EAF53FEB5B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857508590" sldId="1881838510"/>
            <ac:spMk id="9" creationId="{528A4026-CCF8-4C65-9C27-13202517798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857508590" sldId="1881838510"/>
            <ac:spMk id="11" creationId="{F26FE064-D1D1-4FA2-AA86-D83C71FC44A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857508590" sldId="1881838510"/>
            <ac:spMk id="14" creationId="{3E5D962D-18F6-4B53-B124-77330422FC9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857508590" sldId="1881838510"/>
            <ac:spMk id="15" creationId="{D9923486-2F60-4CCA-88A1-2A91234F481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857508590" sldId="1881838510"/>
            <ac:spMk id="17" creationId="{2F8C65E2-60D4-401D-B91D-1C8EAC931A3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857508590" sldId="1881838510"/>
            <ac:spMk id="18" creationId="{E322802F-05D1-413E-A98D-F8E12148E2D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857508590" sldId="1881838510"/>
            <ac:spMk id="19" creationId="{7854D472-CD08-4151-8994-3D7509D3110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857508590" sldId="1881838510"/>
            <ac:spMk id="20" creationId="{6EB2E2CF-87E8-4E0A-81AA-435C87FF938A}"/>
          </ac:spMkLst>
        </pc:spChg>
      </pc:sldChg>
      <pc:sldChg chg="modSp mod">
        <pc:chgData name="Jacobo Domenech Agustin" userId="61653385-aed2-4090-aacd-8680af36a6e0" providerId="ADAL" clId="{E8696C2D-FC87-47CC-A9AD-4DDD29F13C82}" dt="2025-09-25T13:57:58.671" v="1267" actId="790"/>
        <pc:sldMkLst>
          <pc:docMk/>
          <pc:sldMk cId="1917622367" sldId="1881838511"/>
        </pc:sldMkLst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1917622367" sldId="1881838511"/>
            <ac:spMk id="4" creationId="{3848D865-6F23-464E-93FA-3D35CC408C6F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1917622367" sldId="1881838511"/>
            <ac:spMk id="9" creationId="{93DAA3AA-04DA-4F4C-84DD-B3CEDDC5DA84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0:46.442" v="1076" actId="18676"/>
        <pc:sldMkLst>
          <pc:docMk/>
          <pc:sldMk cId="597736193" sldId="1881838513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97736193" sldId="1881838513"/>
            <ac:spMk id="4" creationId="{3848D865-6F23-464E-93FA-3D35CC408C6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97736193" sldId="1881838513"/>
            <ac:spMk id="9" creationId="{93DAA3AA-04DA-4F4C-84DD-B3CEDDC5DA84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3949720257" sldId="1881838514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49720257" sldId="1881838514"/>
            <ac:spMk id="4" creationId="{3848D865-6F23-464E-93FA-3D35CC408C6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49720257" sldId="1881838514"/>
            <ac:spMk id="9" creationId="{93DAA3AA-04DA-4F4C-84DD-B3CEDDC5DA84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42.678" v="1087" actId="47"/>
        <pc:sldMkLst>
          <pc:docMk/>
          <pc:sldMk cId="26600856" sldId="1881838515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600856" sldId="1881838515"/>
            <ac:spMk id="4" creationId="{3848D865-6F23-464E-93FA-3D35CC408C6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600856" sldId="1881838515"/>
            <ac:spMk id="9" creationId="{93DAA3AA-04DA-4F4C-84DD-B3CEDDC5DA84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47.627" v="1098" actId="47"/>
        <pc:sldMkLst>
          <pc:docMk/>
          <pc:sldMk cId="3750050365" sldId="1881838518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50050365" sldId="1881838518"/>
            <ac:spMk id="4" creationId="{3848D865-6F23-464E-93FA-3D35CC408C6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50050365" sldId="1881838518"/>
            <ac:spMk id="9" creationId="{93DAA3AA-04DA-4F4C-84DD-B3CEDDC5DA84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0.074" v="1111" actId="47"/>
        <pc:sldMkLst>
          <pc:docMk/>
          <pc:sldMk cId="3700583674" sldId="1881838520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00583674" sldId="1881838520"/>
            <ac:spMk id="4" creationId="{3848D865-6F23-464E-93FA-3D35CC408C6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00583674" sldId="1881838520"/>
            <ac:spMk id="9" creationId="{93DAA3AA-04DA-4F4C-84DD-B3CEDDC5DA84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9.820" v="1158" actId="47"/>
        <pc:sldMkLst>
          <pc:docMk/>
          <pc:sldMk cId="2608860578" sldId="1881838525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08860578" sldId="1881838525"/>
            <ac:spMk id="4" creationId="{3848D865-6F23-464E-93FA-3D35CC408C6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08860578" sldId="1881838525"/>
            <ac:spMk id="9" creationId="{93DAA3AA-04DA-4F4C-84DD-B3CEDDC5DA84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8.121" v="1198" actId="47"/>
        <pc:sldMkLst>
          <pc:docMk/>
          <pc:sldMk cId="3300230694" sldId="1881838527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300230694" sldId="1881838527"/>
            <ac:spMk id="4" creationId="{3848D865-6F23-464E-93FA-3D35CC408C6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300230694" sldId="1881838527"/>
            <ac:spMk id="9" creationId="{93DAA3AA-04DA-4F4C-84DD-B3CEDDC5DA84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3918029192" sldId="1881838528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18029192" sldId="1881838528"/>
            <ac:spMk id="6" creationId="{00000000-0000-0000-0000-00000000000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18029192" sldId="1881838528"/>
            <ac:spMk id="12" creationId="{84906030-8323-4EC6-BAAE-44689F0B9DC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18029192" sldId="1881838528"/>
            <ac:spMk id="15" creationId="{34E5FDC2-17A9-4C3E-B3FD-D15BAC2B951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18029192" sldId="1881838528"/>
            <ac:spMk id="16" creationId="{C89440D2-3FE4-44E7-BB5C-AD8C5182296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18029192" sldId="1881838528"/>
            <ac:spMk id="17" creationId="{B8023E0D-D7FE-4066-A941-C8DEB4A9C42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18029192" sldId="1881838528"/>
            <ac:spMk id="30" creationId="{DBB4F551-C128-4E0F-A269-F01A7C7BC47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18029192" sldId="1881838528"/>
            <ac:spMk id="31" creationId="{22CC276E-468E-4A37-9701-5A86495AF02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18029192" sldId="1881838528"/>
            <ac:spMk id="35" creationId="{01B67031-5EF0-4F3D-B9BE-FBB2951E151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18029192" sldId="1881838528"/>
            <ac:spMk id="36" creationId="{8B91A46B-5D12-46C4-BAE7-14B9806D3B4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18029192" sldId="1881838528"/>
            <ac:spMk id="40" creationId="{8F09FFF8-3CAA-4807-9A7E-378018A07455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1599927496" sldId="1881838529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99927496" sldId="1881838529"/>
            <ac:spMk id="2" creationId="{00000000-0000-0000-0000-00000000000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99927496" sldId="1881838529"/>
            <ac:spMk id="6" creationId="{00000000-0000-0000-0000-00000000000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99927496" sldId="1881838529"/>
            <ac:spMk id="8" creationId="{0F9C9F29-E6BF-4D26-80B5-F5F7D92ACE3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99927496" sldId="1881838529"/>
            <ac:spMk id="9" creationId="{260DEF5F-CFE0-4B0E-8C1B-A30517BA7BB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99927496" sldId="1881838529"/>
            <ac:spMk id="10" creationId="{3813A960-8366-4B8A-B530-7FF3F914CA6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99927496" sldId="1881838529"/>
            <ac:spMk id="11" creationId="{9B38490E-E025-4912-8A9F-42BFEF89C0E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99927496" sldId="1881838529"/>
            <ac:spMk id="13" creationId="{12292AAA-F61D-4E8F-B869-90DFD65B81B8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2148341043" sldId="1881838530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48341043" sldId="1881838530"/>
            <ac:spMk id="2" creationId="{AA24702B-D11A-442C-965C-06E0F7213FB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48341043" sldId="1881838530"/>
            <ac:spMk id="4" creationId="{23ADD82D-6883-45C0-9566-04E319CC71B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48341043" sldId="1881838530"/>
            <ac:spMk id="7" creationId="{A0035CD7-600D-47C7-BE5A-5A11D2E53A3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48341043" sldId="1881838530"/>
            <ac:spMk id="15" creationId="{757C640E-7046-4842-85CF-2816A243A35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48341043" sldId="1881838530"/>
            <ac:spMk id="16" creationId="{B5137FF7-9B88-481D-8AC1-42C90DD4871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48341043" sldId="1881838530"/>
            <ac:spMk id="17" creationId="{83CE1FE2-5DF9-4942-B675-E41EACA5D3C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48341043" sldId="1881838530"/>
            <ac:spMk id="18" creationId="{BEA8AC19-EABD-4ED9-878F-EEF49071D14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48341043" sldId="1881838530"/>
            <ac:spMk id="19" creationId="{32FE976A-F1E4-4958-BBAF-B7A1C6B6519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48341043" sldId="1881838530"/>
            <ac:spMk id="20" creationId="{BF810A46-3142-4D1D-81C3-9217DD2C787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48341043" sldId="1881838530"/>
            <ac:spMk id="21" creationId="{265A967D-22E7-4D73-9DC4-226E2DA3F876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4167265757" sldId="1881838531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67265757" sldId="1881838531"/>
            <ac:spMk id="2" creationId="{93F6B863-416C-4BE6-8662-2832F6DE334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67265757" sldId="1881838531"/>
            <ac:spMk id="4" creationId="{D4336B01-8883-448A-B26A-FAD2287F260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67265757" sldId="1881838531"/>
            <ac:spMk id="7" creationId="{B7A7FE15-F88E-4D1F-B1FB-4A2B32DE4220}"/>
          </ac:spMkLst>
        </pc:spChg>
        <pc:graphicFrameChg chg="modGraphic">
          <ac:chgData name="Jacobo Domenech Agustin" userId="61653385-aed2-4090-aacd-8680af36a6e0" providerId="ADAL" clId="{E8696C2D-FC87-47CC-A9AD-4DDD29F13C82}" dt="2025-09-25T13:30:55.488" v="83" actId="790"/>
          <ac:graphicFrameMkLst>
            <pc:docMk/>
            <pc:sldMk cId="4167265757" sldId="1881838531"/>
            <ac:graphicFrameMk id="5" creationId="{39F0B227-9EE2-4FC7-A11A-C206EBEF8E93}"/>
          </ac:graphicFrameMkLst>
        </pc:graphicFrame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2608387357" sldId="1881838532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08387357" sldId="1881838532"/>
            <ac:spMk id="2" creationId="{810C5B46-3A46-43C5-899F-C5A91739784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08387357" sldId="1881838532"/>
            <ac:spMk id="3" creationId="{EF138213-D453-445D-BD62-17BF9ECA8EC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08387357" sldId="1881838532"/>
            <ac:spMk id="5" creationId="{5D866BC0-AB0B-4E04-AF7A-0A0DD38C614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08387357" sldId="1881838532"/>
            <ac:spMk id="20" creationId="{C93ECD0C-89E4-477D-876F-EA847F211F4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08387357" sldId="1881838532"/>
            <ac:spMk id="21" creationId="{8BF72114-E161-4F31-80D8-7F954D0A318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08387357" sldId="1881838532"/>
            <ac:spMk id="22" creationId="{07FD2CB7-938F-49E6-8E4C-184427493C7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08387357" sldId="1881838532"/>
            <ac:spMk id="23" creationId="{B29AC687-E22A-41F6-B4F1-95FDD5D7715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08387357" sldId="1881838532"/>
            <ac:spMk id="25" creationId="{A0DB0386-F90D-4862-BA97-A9E5416E469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08387357" sldId="1881838532"/>
            <ac:spMk id="28" creationId="{90EBC96B-3836-4755-ACD9-EFB3CAD3F1F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08387357" sldId="1881838532"/>
            <ac:spMk id="280" creationId="{491203B2-D67D-4828-A182-18364C68DAC0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2761309790" sldId="1881838533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61309790" sldId="1881838533"/>
            <ac:spMk id="2" creationId="{FB6387CB-FEB7-4A13-A43A-214EB1C91F3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61309790" sldId="1881838533"/>
            <ac:spMk id="3" creationId="{FF5A899E-7F60-41AC-A3FB-EE57F658C2E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61309790" sldId="1881838533"/>
            <ac:spMk id="4" creationId="{9A36FB4D-938C-4C44-8B88-E934459D194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61309790" sldId="1881838533"/>
            <ac:spMk id="8" creationId="{143629EF-C8E9-43A0-A836-0FBF12AB36A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61309790" sldId="1881838533"/>
            <ac:spMk id="9" creationId="{72B02523-D5C1-4E32-9D20-2B3432FD622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61309790" sldId="1881838533"/>
            <ac:spMk id="10" creationId="{A44C4DF3-787A-4B08-9015-01D36F9E7DD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61309790" sldId="1881838533"/>
            <ac:spMk id="11" creationId="{78F33E80-D2BC-4DAC-B5FC-4966B04C734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61309790" sldId="1881838533"/>
            <ac:spMk id="12" creationId="{D3724D02-6D76-45EA-B3F5-203D22ADEE8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61309790" sldId="1881838533"/>
            <ac:spMk id="13" creationId="{6D189E4F-C445-4EA9-A33A-E0F58836B545}"/>
          </ac:spMkLst>
        </pc:spChg>
        <pc:graphicFrameChg chg="modGraphic">
          <ac:chgData name="Jacobo Domenech Agustin" userId="61653385-aed2-4090-aacd-8680af36a6e0" providerId="ADAL" clId="{E8696C2D-FC87-47CC-A9AD-4DDD29F13C82}" dt="2025-09-25T13:30:55.488" v="83" actId="790"/>
          <ac:graphicFrameMkLst>
            <pc:docMk/>
            <pc:sldMk cId="2761309790" sldId="1881838533"/>
            <ac:graphicFrameMk id="5" creationId="{547E4B8A-2311-4445-A74F-514E2C75040F}"/>
          </ac:graphicFrameMkLst>
        </pc:graphicFrame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514509197" sldId="1881838534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14509197" sldId="1881838534"/>
            <ac:spMk id="2" creationId="{FAA6EFC1-DDA2-405E-8C9C-EE934E75DCD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14509197" sldId="1881838534"/>
            <ac:spMk id="3" creationId="{46206443-2656-463B-BD5F-E5DF4972111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14509197" sldId="1881838534"/>
            <ac:spMk id="7" creationId="{505021EF-DF26-46D2-8142-7C054AC0D72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14509197" sldId="1881838534"/>
            <ac:spMk id="8" creationId="{6413539E-27AD-4575-91A9-4A41B06C037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14509197" sldId="1881838534"/>
            <ac:spMk id="9" creationId="{6639D916-D812-4206-91F2-97C517FC54C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14509197" sldId="1881838534"/>
            <ac:spMk id="10" creationId="{08749677-EEA3-42DC-A840-7DBDAF24F9A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14509197" sldId="1881838534"/>
            <ac:spMk id="12" creationId="{468E4801-32BF-4509-9C5D-0EC86C12C0D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14509197" sldId="1881838534"/>
            <ac:spMk id="14" creationId="{B481ECEF-52E3-4F03-9FDD-D977D3ADD67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14509197" sldId="1881838534"/>
            <ac:spMk id="18" creationId="{7A96C5D2-8550-4C15-BC3B-EAD05566EDA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14509197" sldId="1881838534"/>
            <ac:spMk id="19" creationId="{D64D419A-04A6-4844-AAF4-D6D51BC78E02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972069952" sldId="1881838536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72069952" sldId="1881838536"/>
            <ac:spMk id="4" creationId="{C49260E3-B641-4A23-B531-4E4AA1709C6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72069952" sldId="1881838536"/>
            <ac:spMk id="11" creationId="{B624E725-B9A5-46C6-9DC7-21E3F490D24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72069952" sldId="1881838536"/>
            <ac:spMk id="13" creationId="{7C01C8FE-5AC1-4862-91DE-B2E3B3E4059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72069952" sldId="1881838536"/>
            <ac:spMk id="16" creationId="{5B707A18-7038-456E-BAF8-271C32AF8D4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72069952" sldId="1881838536"/>
            <ac:spMk id="20" creationId="{B19D170B-4056-4EC4-A02F-EE8C766AAA8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72069952" sldId="1881838536"/>
            <ac:spMk id="23" creationId="{8189A0BF-2E20-4260-AE5B-0E57737D4B8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72069952" sldId="1881838536"/>
            <ac:spMk id="24" creationId="{CB36F7AA-DD9E-48A7-909A-A23F43AFBE2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72069952" sldId="1881838536"/>
            <ac:spMk id="28" creationId="{114A779C-3604-453A-99D2-8AB9818E612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72069952" sldId="1881838536"/>
            <ac:spMk id="31" creationId="{B32CDF5C-B647-4697-A6E0-360D4D12ECF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72069952" sldId="1881838536"/>
            <ac:spMk id="36" creationId="{825F892C-B067-47E6-BDED-FDCAC0E2587A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2.710" v="1172" actId="47"/>
        <pc:sldMkLst>
          <pc:docMk/>
          <pc:sldMk cId="1907738594" sldId="1881838537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07738594" sldId="1881838537"/>
            <ac:spMk id="4" creationId="{80344CAE-5C84-4D8C-B502-E998AB5CDF1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07738594" sldId="1881838537"/>
            <ac:spMk id="27" creationId="{F52D555A-7DAA-4C1D-BD76-B491B0EC434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07738594" sldId="1881838537"/>
            <ac:spMk id="28" creationId="{F9ECC54E-5805-4753-9494-F13A7F37C39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07738594" sldId="1881838537"/>
            <ac:spMk id="29" creationId="{939E6D94-1109-4E1E-B6B5-9F6709D2AE9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07738594" sldId="1881838537"/>
            <ac:spMk id="30" creationId="{EF6C12F6-1CE1-4774-AD1F-06594C950C3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07738594" sldId="1881838537"/>
            <ac:spMk id="32" creationId="{EED3962D-C910-4228-8D3D-4E2BCCDE241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07738594" sldId="1881838537"/>
            <ac:spMk id="35" creationId="{653CED26-57AD-4DAF-938D-65ED364F366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07738594" sldId="1881838537"/>
            <ac:spMk id="36" creationId="{DFDCF879-0A1B-4A3F-8500-2ED8135C940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07738594" sldId="1881838537"/>
            <ac:spMk id="39" creationId="{58165A51-46EB-4C32-AA85-C6E3C3FAF11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07738594" sldId="1881838537"/>
            <ac:spMk id="42" creationId="{46B60790-6B55-4077-9D5F-0C913DE9AE57}"/>
          </ac:spMkLst>
        </pc:spChg>
      </pc:sldChg>
      <pc:sldChg chg="addSp delSp modSp mod">
        <pc:chgData name="Jacobo Domenech Agustin" userId="61653385-aed2-4090-aacd-8680af36a6e0" providerId="ADAL" clId="{E8696C2D-FC87-47CC-A9AD-4DDD29F13C82}" dt="2025-09-25T13:57:58.671" v="1267" actId="790"/>
        <pc:sldMkLst>
          <pc:docMk/>
          <pc:sldMk cId="227459788" sldId="1881838538"/>
        </pc:sldMkLst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227459788" sldId="1881838538"/>
            <ac:spMk id="7" creationId="{D19659BD-653C-4300-9060-420AFAE39587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227459788" sldId="1881838538"/>
            <ac:spMk id="8" creationId="{A4669336-72A1-4233-827A-C41AB4C1CC04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227459788" sldId="1881838538"/>
            <ac:spMk id="45" creationId="{00000000-0000-0000-0000-000000000000}"/>
          </ac:spMkLst>
        </pc:spChg>
        <pc:spChg chg="add del 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227459788" sldId="1881838538"/>
            <ac:spMk id="46" creationId="{00000000-0000-0000-0000-000000000000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0:46.442" v="1076" actId="18676"/>
        <pc:sldMkLst>
          <pc:docMk/>
          <pc:sldMk cId="47623066" sldId="1881838542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7623066" sldId="1881838542"/>
            <ac:spMk id="2" creationId="{101FE1DD-47EC-448A-BC98-B315C18F057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7623066" sldId="1881838542"/>
            <ac:spMk id="3" creationId="{44F7701D-D6CD-4321-9179-10C2012E563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7623066" sldId="1881838542"/>
            <ac:spMk id="5" creationId="{E302D712-746F-4A3A-814E-9F04F454721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7623066" sldId="1881838542"/>
            <ac:spMk id="15" creationId="{9C4562D9-EE45-413A-9298-33127DBD4A1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7623066" sldId="1881838542"/>
            <ac:spMk id="149" creationId="{FB42ECDF-2179-4FEB-B5F5-6B337A41A14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7623066" sldId="1881838542"/>
            <ac:spMk id="150" creationId="{A735F727-30F8-4CC9-B204-FD0D6754A34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7623066" sldId="1881838542"/>
            <ac:spMk id="153" creationId="{810F437C-FB81-4DCB-8352-44157845DCA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7623066" sldId="1881838542"/>
            <ac:spMk id="154" creationId="{9B85E6AB-B0AD-48FE-92A3-E04F1548C84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7623066" sldId="1881838542"/>
            <ac:spMk id="155" creationId="{7B80C2B7-6CDE-4210-B4D1-F8BEF5D20F91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3066301978" sldId="1881838543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66301978" sldId="1881838543"/>
            <ac:spMk id="2" creationId="{101FE1DD-47EC-448A-BC98-B315C18F057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66301978" sldId="1881838543"/>
            <ac:spMk id="3" creationId="{44F7701D-D6CD-4321-9179-10C2012E563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66301978" sldId="1881838543"/>
            <ac:spMk id="6" creationId="{E6659199-03D7-4ED3-8076-8188E594CCF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66301978" sldId="1881838543"/>
            <ac:spMk id="9" creationId="{C7ED0E25-4DE9-4218-880C-E6F9F050C71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66301978" sldId="1881838543"/>
            <ac:spMk id="12" creationId="{F0789FC0-BAA0-47DC-9766-FCE7B0913D9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66301978" sldId="1881838543"/>
            <ac:spMk id="14" creationId="{F0B0D454-C4C8-405D-9D0D-300B594ACA2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66301978" sldId="1881838543"/>
            <ac:spMk id="16" creationId="{F45A8F07-9B12-4878-A7AC-668D3C20472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66301978" sldId="1881838543"/>
            <ac:spMk id="17" creationId="{CA86ABCF-CE66-4017-BDF8-1FFFF06F944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66301978" sldId="1881838543"/>
            <ac:spMk id="19" creationId="{F97BCEA7-AE06-44A6-8F77-606F5004C0B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66301978" sldId="1881838543"/>
            <ac:spMk id="23" creationId="{EC70102C-1B1E-424F-9777-688FC2FF8E74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1226547413" sldId="1881838544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26547413" sldId="1881838544"/>
            <ac:spMk id="2" creationId="{101FE1DD-47EC-448A-BC98-B315C18F057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26547413" sldId="1881838544"/>
            <ac:spMk id="6" creationId="{6FCB6EAD-8951-4935-8C07-5D0A63413DE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26547413" sldId="1881838544"/>
            <ac:spMk id="7" creationId="{93A2D6FC-B237-4F16-9667-E72ED40CB8E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26547413" sldId="1881838544"/>
            <ac:spMk id="10" creationId="{3612C0B7-BCC2-42B9-8DCE-F101593DB91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26547413" sldId="1881838544"/>
            <ac:spMk id="11" creationId="{A2608F22-38D6-45BA-864E-15E8F658A88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26547413" sldId="1881838544"/>
            <ac:spMk id="12" creationId="{7C5A1BEA-7A80-44A2-8E07-4ED43833051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26547413" sldId="1881838544"/>
            <ac:spMk id="13" creationId="{98B02F0A-BF56-4FDA-98C4-7F79C8E21EB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26547413" sldId="1881838544"/>
            <ac:spMk id="14" creationId="{3180E527-B9AA-49CD-9DE0-602BB9BECD5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26547413" sldId="1881838544"/>
            <ac:spMk id="15" creationId="{78262E31-2674-4D4B-A8B6-B1554D4C9BA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226547413" sldId="1881838544"/>
            <ac:spMk id="17" creationId="{452C1701-83F5-42B1-9F06-BECC97EFDF11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10.692" v="1207" actId="47"/>
        <pc:sldMkLst>
          <pc:docMk/>
          <pc:sldMk cId="866782479" sldId="1881838545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66782479" sldId="1881838545"/>
            <ac:spMk id="2" creationId="{163AE5B1-A06F-47C3-AB63-9F1CEAFFD78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66782479" sldId="1881838545"/>
            <ac:spMk id="3" creationId="{44F7701D-D6CD-4321-9179-10C2012E563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66782479" sldId="1881838545"/>
            <ac:spMk id="5" creationId="{E302D712-746F-4A3A-814E-9F04F454721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66782479" sldId="1881838545"/>
            <ac:spMk id="6" creationId="{B7779460-FDB2-4D4F-ADEE-6A178108142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66782479" sldId="1881838545"/>
            <ac:spMk id="10" creationId="{B4DA8F5B-4208-4738-82FE-B56B0DC38072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10.417" v="1206" actId="47"/>
        <pc:sldMkLst>
          <pc:docMk/>
          <pc:sldMk cId="40440257" sldId="1881838546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440257" sldId="1881838546"/>
            <ac:spMk id="2" creationId="{6E732444-F8A2-432F-A113-CA330C419BC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440257" sldId="1881838546"/>
            <ac:spMk id="3" creationId="{44F7701D-D6CD-4321-9179-10C2012E563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440257" sldId="1881838546"/>
            <ac:spMk id="5" creationId="{E302D712-746F-4A3A-814E-9F04F454721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440257" sldId="1881838546"/>
            <ac:spMk id="6" creationId="{CCE9F1C7-E86C-4945-962C-9717EDD1F47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440257" sldId="1881838546"/>
            <ac:spMk id="9" creationId="{6983DB4D-10BB-4325-92B4-3D21E6D68A8C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7.237" v="1194" actId="47"/>
        <pc:sldMkLst>
          <pc:docMk/>
          <pc:sldMk cId="3975606367" sldId="1881838547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75606367" sldId="1881838547"/>
            <ac:spMk id="2" creationId="{72D753AE-CF65-443F-ABE7-31319DAE321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75606367" sldId="1881838547"/>
            <ac:spMk id="56" creationId="{B0268F67-EF63-4ABD-8731-83C51736FDC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75606367" sldId="1881838547"/>
            <ac:spMk id="279" creationId="{0A824642-00E9-407A-8B81-59BDC135247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75606367" sldId="1881838547"/>
            <ac:spMk id="291" creationId="{AF9E7075-35BE-4846-AE4F-08119C3DA94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75606367" sldId="1881838547"/>
            <ac:spMk id="294" creationId="{55B5D836-6286-4B7A-9C62-72F805C3818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75606367" sldId="1881838547"/>
            <ac:spMk id="295" creationId="{955F70FF-8577-4620-B7E4-B9E90754704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75606367" sldId="1881838547"/>
            <ac:spMk id="300" creationId="{D0315252-0DF8-47F8-A847-3211733F9D0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75606367" sldId="1881838547"/>
            <ac:spMk id="302" creationId="{2DDD7BE6-41A2-4944-A1DA-B9F40A7F462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75606367" sldId="1881838547"/>
            <ac:spMk id="320" creationId="{3A36780E-CEC5-4E2F-AE34-FFD9DCD8E7B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75606367" sldId="1881838547"/>
            <ac:spMk id="323" creationId="{2ED5C1A0-6EEA-46A2-85AB-8D2FD6BAA221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6.086" v="1189" actId="47"/>
        <pc:sldMkLst>
          <pc:docMk/>
          <pc:sldMk cId="349838648" sldId="1881838549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9838648" sldId="1881838549"/>
            <ac:spMk id="3" creationId="{5F8B9D60-6ACF-45DF-B523-DC2DDD22FA5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9838648" sldId="1881838549"/>
            <ac:spMk id="4" creationId="{C0205B11-F500-4140-9F31-3745B9E8B6A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9838648" sldId="1881838549"/>
            <ac:spMk id="6" creationId="{1A17C0D9-01FE-4CD6-BF00-64D7552D64C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9838648" sldId="1881838549"/>
            <ac:spMk id="7" creationId="{71B265FA-1763-404A-BE7F-E0645BD8AF4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9838648" sldId="1881838549"/>
            <ac:spMk id="9" creationId="{CB0B3B5A-E961-488F-B88A-F6A27BB7DE3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9838648" sldId="1881838549"/>
            <ac:spMk id="10" creationId="{0DDF2695-91AC-4CFA-9BE1-7C1C266D4EB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9838648" sldId="1881838549"/>
            <ac:spMk id="11" creationId="{2E857D8B-F614-4762-A639-2CCEF831B21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9838648" sldId="1881838549"/>
            <ac:spMk id="13" creationId="{4E8B23F7-E51B-4B66-973D-4613BF091C9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9838648" sldId="1881838549"/>
            <ac:spMk id="45" creationId="{5ECB21FA-4ECA-4B49-89AA-CF0C396BBEE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9838648" sldId="1881838549"/>
            <ac:spMk id="46" creationId="{328764CD-50C1-49C6-8486-A9ECAACFD288}"/>
          </ac:spMkLst>
        </pc:spChg>
      </pc:sldChg>
      <pc:sldChg chg="addSp delSp modSp mod">
        <pc:chgData name="Jacobo Domenech Agustin" userId="61653385-aed2-4090-aacd-8680af36a6e0" providerId="ADAL" clId="{E8696C2D-FC87-47CC-A9AD-4DDD29F13C82}" dt="2025-09-25T13:57:58.671" v="1267" actId="790"/>
        <pc:sldMkLst>
          <pc:docMk/>
          <pc:sldMk cId="1717827723" sldId="1881838550"/>
        </pc:sldMkLst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1717827723" sldId="1881838550"/>
            <ac:spMk id="2" creationId="{33EC84F5-F375-4112-9BE7-EF9E0E813C55}"/>
          </ac:spMkLst>
        </pc:spChg>
        <pc:spChg chg="del mod">
          <ac:chgData name="Jacobo Domenech Agustin" userId="61653385-aed2-4090-aacd-8680af36a6e0" providerId="ADAL" clId="{E8696C2D-FC87-47CC-A9AD-4DDD29F13C82}" dt="2025-09-25T13:36:02.028" v="294" actId="478"/>
          <ac:spMkLst>
            <pc:docMk/>
            <pc:sldMk cId="1717827723" sldId="1881838550"/>
            <ac:spMk id="3" creationId="{73B26600-0CA1-4299-B355-18EE2A0E60A8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1717827723" sldId="1881838550"/>
            <ac:spMk id="11" creationId="{BA87220E-8C4D-4117-B41F-E084E597FBFC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1717827723" sldId="1881838550"/>
            <ac:spMk id="13" creationId="{6F91F5DA-AFB5-4580-8722-2782BCC36F9B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1717827723" sldId="1881838550"/>
            <ac:spMk id="14" creationId="{8FAAEA30-21EC-488D-9B5E-155E3949912F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1717827723" sldId="1881838550"/>
            <ac:spMk id="15" creationId="{2953AA78-17AD-44B1-9646-E0D08646871C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1717827723" sldId="1881838550"/>
            <ac:spMk id="16" creationId="{C9CF7D8B-0A05-4785-AEC2-9D0992F18016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1717827723" sldId="1881838550"/>
            <ac:spMk id="28" creationId="{E9E8E2A9-5052-4DB3-9413-92B70FD64ECE}"/>
          </ac:spMkLst>
        </pc:spChg>
        <pc:graphicFrameChg chg="mod modGraphic">
          <ac:chgData name="Jacobo Domenech Agustin" userId="61653385-aed2-4090-aacd-8680af36a6e0" providerId="ADAL" clId="{E8696C2D-FC87-47CC-A9AD-4DDD29F13C82}" dt="2025-09-25T13:57:58.671" v="1267" actId="790"/>
          <ac:graphicFrameMkLst>
            <pc:docMk/>
            <pc:sldMk cId="1717827723" sldId="1881838550"/>
            <ac:graphicFrameMk id="29" creationId="{63A39C6C-39D1-4386-8738-0E5CCE104741}"/>
          </ac:graphicFrameMkLst>
        </pc:graphicFrameChg>
        <pc:picChg chg="add del">
          <ac:chgData name="Jacobo Domenech Agustin" userId="61653385-aed2-4090-aacd-8680af36a6e0" providerId="ADAL" clId="{E8696C2D-FC87-47CC-A9AD-4DDD29F13C82}" dt="2025-09-25T13:35:58.360" v="293" actId="478"/>
          <ac:picMkLst>
            <pc:docMk/>
            <pc:sldMk cId="1717827723" sldId="1881838550"/>
            <ac:picMk id="10" creationId="{770D798D-8773-4029-8A84-30736A1C0D95}"/>
          </ac:picMkLst>
        </pc:picChg>
      </pc:sldChg>
      <pc:sldChg chg="modSp del mod">
        <pc:chgData name="Jacobo Domenech Agustin" userId="61653385-aed2-4090-aacd-8680af36a6e0" providerId="ADAL" clId="{E8696C2D-FC87-47CC-A9AD-4DDD29F13C82}" dt="2025-09-25T13:56:09.712" v="1203" actId="47"/>
        <pc:sldMkLst>
          <pc:docMk/>
          <pc:sldMk cId="2413123003" sldId="1881838552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13123003" sldId="1881838552"/>
            <ac:spMk id="2" creationId="{137E0521-9138-4469-B7E8-DCB0DCBD02B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13123003" sldId="1881838552"/>
            <ac:spMk id="3" creationId="{0A91343C-0DAD-43A7-87C0-3CC92445D5C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13123003" sldId="1881838552"/>
            <ac:spMk id="14" creationId="{055CBD25-E70F-4E10-AD4C-D386EC4B099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13123003" sldId="1881838552"/>
            <ac:spMk id="17" creationId="{45204C8E-AEBA-4037-9D78-DD9B2AABBAB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13123003" sldId="1881838552"/>
            <ac:spMk id="21" creationId="{6294BBE0-6EBB-4F75-9D8F-ED15987BA2CF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9.945" v="1204" actId="47"/>
        <pc:sldMkLst>
          <pc:docMk/>
          <pc:sldMk cId="2831100484" sldId="1881838553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31100484" sldId="1881838553"/>
            <ac:spMk id="2" creationId="{137E0521-9138-4469-B7E8-DCB0DCBD02B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31100484" sldId="1881838553"/>
            <ac:spMk id="3" creationId="{0A91343C-0DAD-43A7-87C0-3CC92445D5C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31100484" sldId="1881838553"/>
            <ac:spMk id="23" creationId="{2FF19F98-C1B1-44F5-B7D4-18BBC2E0F5C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31100484" sldId="1881838553"/>
            <ac:spMk id="40" creationId="{957CE6B8-13B1-4228-A639-AA320B89625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31100484" sldId="1881838553"/>
            <ac:spMk id="41" creationId="{A0A5F2F4-2B32-4F13-95AB-B6B4FD4E34C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31100484" sldId="1881838553"/>
            <ac:spMk id="43" creationId="{AD877F13-8D9C-4FFE-9337-53CE95249ED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31100484" sldId="1881838553"/>
            <ac:spMk id="44" creationId="{3AF462C4-9DD7-4A5D-98D1-E6FE8D3FE7B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31100484" sldId="1881838553"/>
            <ac:spMk id="47" creationId="{1DE7FDA8-5081-45B8-A123-8B4B0FA782C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31100484" sldId="1881838553"/>
            <ac:spMk id="49" creationId="{0F6B464C-BF55-4FA8-BBA0-ED61B1DBAA2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31100484" sldId="1881838553"/>
            <ac:spMk id="50" creationId="{40FE849F-E540-487D-86C4-A8C367F17CC5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10.173" v="1205" actId="47"/>
        <pc:sldMkLst>
          <pc:docMk/>
          <pc:sldMk cId="2423238082" sldId="1881838554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23238082" sldId="1881838554"/>
            <ac:spMk id="2" creationId="{137E0521-9138-4469-B7E8-DCB0DCBD02B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23238082" sldId="1881838554"/>
            <ac:spMk id="3" creationId="{0A91343C-0DAD-43A7-87C0-3CC92445D5C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23238082" sldId="1881838554"/>
            <ac:spMk id="26" creationId="{B347009D-691B-4FA5-A869-6C1B7FC9FAC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23238082" sldId="1881838554"/>
            <ac:spMk id="28" creationId="{09BF7DB9-F661-42A3-A8B6-B8F63EC5DD8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23238082" sldId="1881838554"/>
            <ac:spMk id="31" creationId="{5E146AA7-3E9D-4375-8ED7-1AD5AA0B38E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23238082" sldId="1881838554"/>
            <ac:spMk id="33" creationId="{A45FBC4C-0CCB-4158-A343-DD66B7CDE8B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23238082" sldId="1881838554"/>
            <ac:spMk id="41" creationId="{2D5CAC4C-1885-4462-9C98-9FF1DA11D4C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23238082" sldId="1881838554"/>
            <ac:spMk id="43" creationId="{FF3E9955-74E9-40A8-BD21-200DCB4F951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23238082" sldId="1881838554"/>
            <ac:spMk id="44" creationId="{B7724E4C-1EB3-4DB9-A4AF-E0294B6ED1A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23238082" sldId="1881838554"/>
            <ac:spMk id="47" creationId="{C1241410-8E1E-450B-A697-166866323D66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2.523" v="1171" actId="47"/>
        <pc:sldMkLst>
          <pc:docMk/>
          <pc:sldMk cId="3525690454" sldId="1881838555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25690454" sldId="1881838555"/>
            <ac:spMk id="94" creationId="{C11C72AC-23E0-4E23-B41B-AF1AEF8558D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25690454" sldId="1881838555"/>
            <ac:spMk id="97" creationId="{779B1C06-78D9-4396-B744-3109BD7CCA5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25690454" sldId="1881838555"/>
            <ac:spMk id="113" creationId="{8457BD47-B0C2-417C-BB6F-E37876E5C12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25690454" sldId="1881838555"/>
            <ac:spMk id="114" creationId="{001DB953-0025-4AC5-8BB8-B7D1C49ACB1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25690454" sldId="1881838555"/>
            <ac:spMk id="124" creationId="{4090ED60-B214-4BB1-860C-9994F274721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25690454" sldId="1881838555"/>
            <ac:spMk id="125" creationId="{C047D2B2-7DDA-4806-A4DF-6ECCA3E3319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25690454" sldId="1881838555"/>
            <ac:spMk id="129" creationId="{D4AD07D4-CA53-4C21-9C34-7C1485855BA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25690454" sldId="1881838555"/>
            <ac:spMk id="141" creationId="{168AB7E2-F02B-48C1-B943-0E7FF4DA7AC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25690454" sldId="1881838555"/>
            <ac:spMk id="146" creationId="{2EEC57E5-9C16-433E-9FBA-3F31259F2D9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25690454" sldId="1881838555"/>
            <ac:spMk id="152" creationId="{6DE22577-B94D-41BC-A20A-3DDDD3F97508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2389891696" sldId="1881838556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89891696" sldId="1881838556"/>
            <ac:spMk id="2" creationId="{BC272C1C-0054-4D11-A21B-397B5B6CCAD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89891696" sldId="1881838556"/>
            <ac:spMk id="3" creationId="{00000000-0000-0000-0000-00000000000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89891696" sldId="1881838556"/>
            <ac:spMk id="11" creationId="{0B6A3995-9792-4054-B526-1AE8D41B584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89891696" sldId="1881838556"/>
            <ac:spMk id="14" creationId="{0D9A7B23-DB9A-4236-AA37-C1664560BD8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89891696" sldId="1881838556"/>
            <ac:spMk id="15" creationId="{4CA83D2D-04F7-4AB2-88ED-028FEC66CAD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89891696" sldId="1881838556"/>
            <ac:spMk id="16" creationId="{BD4AC945-F153-4302-9DFA-E1E24704118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89891696" sldId="1881838556"/>
            <ac:spMk id="18" creationId="{D7D89498-3C3A-48F6-9477-31394F3FAB2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89891696" sldId="1881838556"/>
            <ac:spMk id="33" creationId="{EAC53BCE-6BBB-453F-8BB6-DFEB0D024E4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89891696" sldId="1881838556"/>
            <ac:spMk id="40" creationId="{E6A5E416-A0CA-4287-9EFC-1D13A19D2C6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89891696" sldId="1881838556"/>
            <ac:spMk id="42" creationId="{6871ED91-4BA0-4A01-AC3B-890C7F38295B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1:03.583" v="1077" actId="2696"/>
        <pc:sldMkLst>
          <pc:docMk/>
          <pc:sldMk cId="3680113520" sldId="1881838557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80113520" sldId="1881838557"/>
            <ac:spMk id="11" creationId="{31AAB596-E4AB-47B8-89DA-9FF2689AAE5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80113520" sldId="1881838557"/>
            <ac:spMk id="12" creationId="{F938F059-676D-4181-BC5F-2FA372216E9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80113520" sldId="1881838557"/>
            <ac:spMk id="14" creationId="{06B75771-A73B-473B-97CA-40A5F81E176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80113520" sldId="1881838557"/>
            <ac:spMk id="15" creationId="{6C4BBA53-C5D3-447F-8EE3-16034678F02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80113520" sldId="1881838557"/>
            <ac:spMk id="17" creationId="{3D72D37F-8A9A-4A1E-B1A3-1BEC64E8F69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80113520" sldId="1881838557"/>
            <ac:spMk id="18" creationId="{5256C76F-6A56-4741-A3BC-1AFDB596B1A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80113520" sldId="1881838557"/>
            <ac:spMk id="19" creationId="{FE270D2E-0395-4DE5-A2CD-9485DA51BF5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80113520" sldId="1881838557"/>
            <ac:spMk id="43" creationId="{BC018F23-D5B7-44B0-88C5-649CB44BC2A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80113520" sldId="1881838557"/>
            <ac:spMk id="44" creationId="{D0F22482-8293-430A-9862-D45EA985D14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80113520" sldId="1881838557"/>
            <ac:spMk id="45" creationId="{78A88CC0-B267-413C-9B75-FE4C5980D39D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1:03.583" v="1077" actId="2696"/>
        <pc:sldMkLst>
          <pc:docMk/>
          <pc:sldMk cId="3697439286" sldId="1881838558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97439286" sldId="1881838558"/>
            <ac:spMk id="10" creationId="{B25DDA6E-E52B-491D-9A0C-5EC0250EB9B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97439286" sldId="1881838558"/>
            <ac:spMk id="12" creationId="{4EFC5121-6527-4025-B81D-C18D9E0F2EE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97439286" sldId="1881838558"/>
            <ac:spMk id="13" creationId="{C6B67999-F97E-4872-8F8B-9924F1F8E8B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97439286" sldId="1881838558"/>
            <ac:spMk id="14" creationId="{C8B0861B-F0FB-43CA-B3E0-B7CD636573B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97439286" sldId="1881838558"/>
            <ac:spMk id="16" creationId="{3E8456BC-9635-4B75-ADDC-1537896BE50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97439286" sldId="1881838558"/>
            <ac:spMk id="17" creationId="{F6F65766-DFC3-4E86-8136-7B04D8B5361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97439286" sldId="1881838558"/>
            <ac:spMk id="19" creationId="{ACE197B5-39EE-4A31-B4BC-6665286DAAC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97439286" sldId="1881838558"/>
            <ac:spMk id="20" creationId="{5AFE8007-7261-490A-AF10-9886D7CDC05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97439286" sldId="1881838558"/>
            <ac:spMk id="23" creationId="{C4D40A0C-AC70-4EB8-A0B5-CE96A6C025C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697439286" sldId="1881838558"/>
            <ac:spMk id="30" creationId="{9BEE9F8F-F63C-467A-92AB-8DBCE5AFF52B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934238921" sldId="1881838559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34238921" sldId="1881838559"/>
            <ac:spMk id="2" creationId="{5804F0C9-0461-4A3A-B582-0EC225A3273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34238921" sldId="1881838559"/>
            <ac:spMk id="3" creationId="{C1AA7FC6-4F1C-4BB9-83CF-7D45CEA45E7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34238921" sldId="1881838559"/>
            <ac:spMk id="10" creationId="{99D82432-44E2-45A2-ADD3-0C7D66D2A50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34238921" sldId="1881838559"/>
            <ac:spMk id="22" creationId="{29E00AC5-8FB5-4BD7-AD73-8B95EF371FC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34238921" sldId="1881838559"/>
            <ac:spMk id="25" creationId="{9042C6F0-F815-4534-85D4-A0E02D97964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34238921" sldId="1881838559"/>
            <ac:spMk id="26" creationId="{3AD5D01E-C8B7-4524-B147-4598C2AF996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34238921" sldId="1881838559"/>
            <ac:spMk id="29" creationId="{8356807F-50E6-4D7D-BB61-167EBD0DD91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34238921" sldId="1881838559"/>
            <ac:spMk id="33" creationId="{3C048D90-3721-4D74-9C80-0FC25FB2191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34238921" sldId="1881838559"/>
            <ac:spMk id="34" creationId="{25163B58-67DF-461F-AFB8-08DE9763005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34238921" sldId="1881838559"/>
            <ac:spMk id="35" creationId="{9DB6B438-A129-42FD-85B5-27EEF12A08BB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3.460" v="1176" actId="47"/>
        <pc:sldMkLst>
          <pc:docMk/>
          <pc:sldMk cId="1050159760" sldId="1881838560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50159760" sldId="1881838560"/>
            <ac:spMk id="147" creationId="{F0399130-89D2-468F-A4F4-0E95D6E349F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50159760" sldId="1881838560"/>
            <ac:spMk id="157" creationId="{D9C66D84-80FD-4698-B87E-1EC230E1EC7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50159760" sldId="1881838560"/>
            <ac:spMk id="163" creationId="{0F611B64-551F-49B5-8BEA-48AA1183DC8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50159760" sldId="1881838560"/>
            <ac:spMk id="168" creationId="{13C42CB6-B731-49E8-9139-68E634DAAAD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50159760" sldId="1881838560"/>
            <ac:spMk id="191" creationId="{4942262B-12A6-45DB-B3F2-B9E91DF76C5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50159760" sldId="1881838560"/>
            <ac:spMk id="221" creationId="{63DC38F1-9BCA-43B6-9BD3-311568F481F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50159760" sldId="1881838560"/>
            <ac:spMk id="232" creationId="{CFA4A589-2189-49FC-984C-42198165CA4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50159760" sldId="1881838560"/>
            <ac:spMk id="236" creationId="{940A2BD0-F025-4442-98B7-BE6870B86F3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50159760" sldId="1881838560"/>
            <ac:spMk id="239" creationId="{9596FEFF-FAD3-4BAC-9167-A1F49583B52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50159760" sldId="1881838560"/>
            <ac:spMk id="253" creationId="{E680A463-E1C5-4C9B-80B2-52665E0880AB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1144771348" sldId="1881838561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4771348" sldId="1881838561"/>
            <ac:spMk id="5" creationId="{4361A80F-56FE-44BE-A166-83914E73E69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4771348" sldId="1881838561"/>
            <ac:spMk id="19" creationId="{2B569067-48C2-4E45-AF89-F7BE62ABD9C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4771348" sldId="1881838561"/>
            <ac:spMk id="21" creationId="{7336FB33-D137-40B9-87D8-F99C8FC670D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4771348" sldId="1881838561"/>
            <ac:spMk id="22" creationId="{6BA5867E-9D5F-4914-AED3-FDCCDB4C913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4771348" sldId="1881838561"/>
            <ac:spMk id="24" creationId="{4FEC4331-193B-470C-85D0-9DD267317A1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4771348" sldId="1881838561"/>
            <ac:spMk id="25" creationId="{9B762F04-E6FD-4746-97C6-4F73C3B894F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4771348" sldId="1881838561"/>
            <ac:spMk id="31" creationId="{883126C5-D58C-4296-AD57-26B5F995799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4771348" sldId="1881838561"/>
            <ac:spMk id="33" creationId="{C87DA824-5AAF-4600-9D28-0C1E9919407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4771348" sldId="1881838561"/>
            <ac:spMk id="37" creationId="{7839B1D9-023F-4C73-B4F8-8DEE0AF63F2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144771348" sldId="1881838561"/>
            <ac:spMk id="38" creationId="{D32323E1-0AC7-438D-A608-2D2770CBFD0B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44.894" v="1089" actId="47"/>
        <pc:sldMkLst>
          <pc:docMk/>
          <pc:sldMk cId="3337223548" sldId="1881838563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337223548" sldId="1881838563"/>
            <ac:spMk id="11" creationId="{94AB07F0-FB66-4C5C-A592-B3572CA8D4F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337223548" sldId="1881838563"/>
            <ac:spMk id="12" creationId="{236C1D46-F1CA-4EF5-A09D-EEA7D0E3227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337223548" sldId="1881838563"/>
            <ac:spMk id="13" creationId="{9F719BC4-2ABA-4D56-BA7A-5380A999A1F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337223548" sldId="1881838563"/>
            <ac:spMk id="14" creationId="{8EA082CC-4C0F-4C73-AEE4-BFEA174468D1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6.531" v="1191" actId="47"/>
        <pc:sldMkLst>
          <pc:docMk/>
          <pc:sldMk cId="2796193226" sldId="1881838565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96193226" sldId="1881838565"/>
            <ac:spMk id="2" creationId="{2301BB27-14AF-4E8E-BE99-E2BB2C928C0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96193226" sldId="1881838565"/>
            <ac:spMk id="4" creationId="{8C245B83-4768-4CF4-9BEA-CE373449EDF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96193226" sldId="1881838565"/>
            <ac:spMk id="8" creationId="{2CF6D930-8E40-4603-B793-44F1C191AE4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96193226" sldId="1881838565"/>
            <ac:spMk id="11" creationId="{8FC58F85-0B56-43D0-BA45-48A8ED97B67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96193226" sldId="1881838565"/>
            <ac:spMk id="12" creationId="{77D0266F-A75D-496E-A24C-220547912DC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96193226" sldId="1881838565"/>
            <ac:spMk id="13" creationId="{C24A7E6F-AD88-4459-93D8-B29911E7E75C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2894765983" sldId="1881838572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94765983" sldId="1881838572"/>
            <ac:spMk id="2" creationId="{1305762F-68B6-4443-924F-86699F4C6B4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94765983" sldId="1881838572"/>
            <ac:spMk id="3" creationId="{17651FF8-4014-432E-AECD-876174CDB0F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94765983" sldId="1881838572"/>
            <ac:spMk id="6" creationId="{7B25E2A3-4D6F-4CD7-BBE9-B392C437306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94765983" sldId="1881838572"/>
            <ac:spMk id="9" creationId="{F21153C0-340A-4E08-8990-A8319BCFDB5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94765983" sldId="1881838572"/>
            <ac:spMk id="12" creationId="{58C7FB72-5C16-4F2B-AFEC-AE106A93759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94765983" sldId="1881838572"/>
            <ac:spMk id="14" creationId="{0AFC683B-3629-43D3-8ADC-312CB98FE0A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94765983" sldId="1881838572"/>
            <ac:spMk id="15" creationId="{4D5F412B-2D3F-49D3-AD36-A24893F7D67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94765983" sldId="1881838572"/>
            <ac:spMk id="16" creationId="{C2EDD6F9-89E5-4467-8A3A-F7B0FFA7F91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94765983" sldId="1881838572"/>
            <ac:spMk id="17" creationId="{1F4506D9-6E54-4C71-AD46-242B84F1B84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94765983" sldId="1881838572"/>
            <ac:spMk id="18" creationId="{249F59E7-B902-4188-A290-06AB31383DE4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3.269" v="1175" actId="47"/>
        <pc:sldMkLst>
          <pc:docMk/>
          <pc:sldMk cId="53541572" sldId="1881838576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3541572" sldId="1881838576"/>
            <ac:spMk id="2" creationId="{0DF31E9F-10D4-4A35-A5EB-4BCEA6ACA2B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3541572" sldId="1881838576"/>
            <ac:spMk id="20" creationId="{F3F404E7-E789-444C-9974-A065D714325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3541572" sldId="1881838576"/>
            <ac:spMk id="31" creationId="{192A3507-90F8-451E-8614-F5AE335C76B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3541572" sldId="1881838576"/>
            <ac:spMk id="45" creationId="{8468F048-FB7A-49C3-9FCC-699FBEFFD94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3541572" sldId="1881838576"/>
            <ac:spMk id="99" creationId="{ADEB5CE1-6EBB-42B9-A56D-47E831A9980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3541572" sldId="1881838576"/>
            <ac:spMk id="127" creationId="{55D24D49-9D08-4B79-97A8-6E6F7B68980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3541572" sldId="1881838576"/>
            <ac:spMk id="158" creationId="{283DF0B3-EB53-4E41-A440-BF7043CDF7F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3541572" sldId="1881838576"/>
            <ac:spMk id="223" creationId="{86A5E3F2-C5E6-4644-9027-C8034A5F1E8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3541572" sldId="1881838576"/>
            <ac:spMk id="225" creationId="{78D3B9C0-BEF1-4AA1-8285-6B808B495B2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3541572" sldId="1881838576"/>
            <ac:spMk id="239" creationId="{F9006A32-523F-4BEC-8FAF-C86EB05B7650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1:03.583" v="1077" actId="2696"/>
        <pc:sldMkLst>
          <pc:docMk/>
          <pc:sldMk cId="849143141" sldId="1881838578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49143141" sldId="1881838578"/>
            <ac:spMk id="7" creationId="{C5F304A2-9422-4185-B61E-87445EECC16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49143141" sldId="1881838578"/>
            <ac:spMk id="32" creationId="{B6DA2ACC-887C-43B0-8BC9-04AAD272F7D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49143141" sldId="1881838578"/>
            <ac:spMk id="38" creationId="{57A1DC5A-2ECD-4055-A0A0-6DC776C82AD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49143141" sldId="1881838578"/>
            <ac:spMk id="39" creationId="{F3778EA2-FE1C-4D1F-81D4-23AD0163EC7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49143141" sldId="1881838578"/>
            <ac:spMk id="40" creationId="{4649F7F4-8D7F-443A-BBEC-4A60CB3FF00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49143141" sldId="1881838578"/>
            <ac:spMk id="41" creationId="{C1D220E7-3162-43D8-8034-960067E0648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49143141" sldId="1881838578"/>
            <ac:spMk id="47" creationId="{42F00BE7-B34D-4D28-97F9-3AD17F71178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49143141" sldId="1881838578"/>
            <ac:spMk id="195" creationId="{BA69AE45-DEF3-4A5E-80FD-B7F9DD5B8E9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49143141" sldId="1881838578"/>
            <ac:spMk id="197" creationId="{1C38BB95-9A7A-4FDD-86AB-24D559DED05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49143141" sldId="1881838578"/>
            <ac:spMk id="357" creationId="{F07DAF80-FBF9-4779-A963-214C1495C9CD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3.636" v="1177" actId="47"/>
        <pc:sldMkLst>
          <pc:docMk/>
          <pc:sldMk cId="4077797099" sldId="1881838579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77797099" sldId="1881838579"/>
            <ac:spMk id="7" creationId="{7ADFD795-51CF-4C3E-BAA5-E6AEB36E9A2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77797099" sldId="1881838579"/>
            <ac:spMk id="18" creationId="{06012C98-95EC-46FE-911D-B283D31A35A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77797099" sldId="1881838579"/>
            <ac:spMk id="24" creationId="{5201D6C5-A0EB-4B6A-9873-601E5768D4D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77797099" sldId="1881838579"/>
            <ac:spMk id="27" creationId="{4B526A6C-6C37-47BC-98F5-09B0DF74367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77797099" sldId="1881838579"/>
            <ac:spMk id="38" creationId="{47F90653-9BDC-41F8-9157-50E11F95D8E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77797099" sldId="1881838579"/>
            <ac:spMk id="41" creationId="{B7DE2370-D792-4307-BE91-FC85F35BF8F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77797099" sldId="1881838579"/>
            <ac:spMk id="44" creationId="{8776E700-C268-4FD2-8E58-25AEDB4184F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77797099" sldId="1881838579"/>
            <ac:spMk id="62" creationId="{295B5FF7-A62E-4060-B2AF-0C4897211D2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77797099" sldId="1881838579"/>
            <ac:spMk id="71" creationId="{B0CC633A-D1DB-460B-97EA-99901DB4669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077797099" sldId="1881838579"/>
            <ac:spMk id="91" creationId="{2758F00F-AA7D-45F0-96CC-0D07DCF542C4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3099031826" sldId="1881838580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99031826" sldId="1881838580"/>
            <ac:spMk id="2" creationId="{8D34C9CD-0831-4D66-83F6-8B60B92473D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99031826" sldId="1881838580"/>
            <ac:spMk id="4" creationId="{BC0B5951-CD53-4D73-97A6-CAFE95E2DF0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99031826" sldId="1881838580"/>
            <ac:spMk id="5" creationId="{D713C16D-E83B-48E2-AF5F-86B5B5B4B98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99031826" sldId="1881838580"/>
            <ac:spMk id="6" creationId="{04A21841-141F-4E24-AFD3-18488599F80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99031826" sldId="1881838580"/>
            <ac:spMk id="7" creationId="{3D28FAB7-3141-4793-B625-B6A113619F2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99031826" sldId="1881838580"/>
            <ac:spMk id="10" creationId="{E3E2D717-BC6F-42E4-8C6E-3544FFF8092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99031826" sldId="1881838580"/>
            <ac:spMk id="11" creationId="{E221E0CE-EE79-48E3-B192-C3DE9269225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99031826" sldId="1881838580"/>
            <ac:spMk id="15" creationId="{2EB783FB-2166-41D5-82C7-D329B39FB0C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99031826" sldId="1881838580"/>
            <ac:spMk id="17" creationId="{7D8F4FDA-5153-41FF-BECE-4021C6A90D9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099031826" sldId="1881838580"/>
            <ac:spMk id="18" creationId="{C3EBC1A5-D29B-4BAC-9C22-32E5DDF920FD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807572681" sldId="1881838590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07572681" sldId="1881838590"/>
            <ac:spMk id="3" creationId="{C4A872D2-D781-4A21-99B0-D4AA74A14AE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07572681" sldId="1881838590"/>
            <ac:spMk id="6" creationId="{8795CA5E-0AD7-4FCE-AC61-11ECFBF4A9F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07572681" sldId="1881838590"/>
            <ac:spMk id="11" creationId="{CB9BBD42-40AD-401C-8448-A16405A7F7D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07572681" sldId="1881838590"/>
            <ac:spMk id="12" creationId="{BFF82440-C413-4402-A3B3-C35E5F2A7D5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07572681" sldId="1881838590"/>
            <ac:spMk id="15" creationId="{89E64F54-EB9D-485F-8756-2526B1BD06E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07572681" sldId="1881838590"/>
            <ac:spMk id="16" creationId="{827BE238-01DC-4A6E-B5B2-FF0F44F60E4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07572681" sldId="1881838590"/>
            <ac:spMk id="18" creationId="{4CEF35F7-84A0-4008-A6B8-75EE0D034C3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07572681" sldId="1881838590"/>
            <ac:spMk id="22" creationId="{14E0DB43-EAD6-426F-A5D7-B256FD2B4EE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07572681" sldId="1881838590"/>
            <ac:spMk id="26" creationId="{5FFFAA6C-A1EF-4D80-9E41-A4A24E0FB69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807572681" sldId="1881838590"/>
            <ac:spMk id="27" creationId="{613D0C03-63D3-4F61-BF5B-76B897713BB1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546247063" sldId="1881838592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46247063" sldId="1881838592"/>
            <ac:spMk id="4" creationId="{555322FD-E5A6-4ABE-84A0-1C86298A195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46247063" sldId="1881838592"/>
            <ac:spMk id="5" creationId="{3BE24B40-B36E-4921-AEA1-A4B50D77FEC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46247063" sldId="1881838592"/>
            <ac:spMk id="6" creationId="{D3E5F087-DA8B-4D42-A8B7-DEA4C405F70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546247063" sldId="1881838592"/>
            <ac:spMk id="7" creationId="{08DC8A6D-DE28-4F6D-9E9A-F60866CC0D23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3.841" v="1178" actId="47"/>
        <pc:sldMkLst>
          <pc:docMk/>
          <pc:sldMk cId="2757734203" sldId="1881838593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57734203" sldId="1881838593"/>
            <ac:spMk id="2" creationId="{E7BF2ED0-3E68-4F7F-A4D7-0D37FB7761B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57734203" sldId="1881838593"/>
            <ac:spMk id="17" creationId="{86ED02EB-22B9-4685-90E5-FB613D52BF4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57734203" sldId="1881838593"/>
            <ac:spMk id="27" creationId="{3F32A41E-C02E-4892-8150-56EB0CCDEAB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57734203" sldId="1881838593"/>
            <ac:spMk id="40" creationId="{16E591ED-1D33-4F1E-B4F1-F7CA6B789CB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57734203" sldId="1881838593"/>
            <ac:spMk id="41" creationId="{12616F5E-9768-4055-A464-62766E0AA3E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57734203" sldId="1881838593"/>
            <ac:spMk id="44" creationId="{A15854C4-4BFD-45BB-AC0B-DB9F6793F09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57734203" sldId="1881838593"/>
            <ac:spMk id="50" creationId="{3CE75D4A-C524-4CD8-85CB-911A71C9DC6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57734203" sldId="1881838593"/>
            <ac:spMk id="52" creationId="{54110E9A-62B8-418D-9E40-37F896354FA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57734203" sldId="1881838593"/>
            <ac:spMk id="53" creationId="{9476264B-76E6-41FF-93A4-5E44A317ADF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57734203" sldId="1881838593"/>
            <ac:spMk id="54" creationId="{FAF37945-E423-4645-A75B-C5140EBCA20C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9.262" v="1155" actId="47"/>
        <pc:sldMkLst>
          <pc:docMk/>
          <pc:sldMk cId="156027973" sldId="1881838594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6027973" sldId="1881838594"/>
            <ac:spMk id="2" creationId="{4EC08386-C3DD-434A-A1FA-B63DDB37D1C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6027973" sldId="1881838594"/>
            <ac:spMk id="5" creationId="{A0B9DC5A-191D-4F47-BF8C-05292E0D56F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6027973" sldId="1881838594"/>
            <ac:spMk id="6" creationId="{CC26937F-3870-434F-8239-69DCB7FD805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6027973" sldId="1881838594"/>
            <ac:spMk id="8" creationId="{6F7EF05B-3F6C-402C-B77A-DBB13A78323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6027973" sldId="1881838594"/>
            <ac:spMk id="9" creationId="{B30BEC83-7016-401D-B442-15A9FB97BC2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6027973" sldId="1881838594"/>
            <ac:spMk id="10" creationId="{88E6505F-9FAD-435C-A9C1-7C6091CC076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6027973" sldId="1881838594"/>
            <ac:spMk id="13" creationId="{48A3A415-FEF5-45F6-9787-2B9422675DA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6027973" sldId="1881838594"/>
            <ac:spMk id="14" creationId="{345BF9B0-9A6D-4503-9268-FEAF0BE9F90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6027973" sldId="1881838594"/>
            <ac:spMk id="15" creationId="{F4B347E6-4A5A-456D-A32E-E4344F17E03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56027973" sldId="1881838594"/>
            <ac:spMk id="19" creationId="{AFD747A8-B06C-42EC-BA40-1D435CA73D15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2585052276" sldId="1881838599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85052276" sldId="1881838599"/>
            <ac:spMk id="3" creationId="{E395D23E-F542-4259-89F5-7F1E69FCA3E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85052276" sldId="1881838599"/>
            <ac:spMk id="6" creationId="{7B25E2A3-4D6F-4CD7-BBE9-B392C437306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85052276" sldId="1881838599"/>
            <ac:spMk id="10" creationId="{9C543593-6DA6-4048-8EDD-E20BD325EC3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85052276" sldId="1881838599"/>
            <ac:spMk id="12" creationId="{58C7FB72-5C16-4F2B-AFEC-AE106A93759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85052276" sldId="1881838599"/>
            <ac:spMk id="14" creationId="{9E4AA098-8970-4D8B-A038-F84BD0EBEB0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85052276" sldId="1881838599"/>
            <ac:spMk id="15" creationId="{0298A204-D2B9-4CBC-9349-84A58C7D248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85052276" sldId="1881838599"/>
            <ac:spMk id="17" creationId="{EB9E35D6-DF36-45E0-B6C2-C937B2E879A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85052276" sldId="1881838599"/>
            <ac:spMk id="19" creationId="{4B2300E6-2406-4478-8724-665A9A0A560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85052276" sldId="1881838599"/>
            <ac:spMk id="21" creationId="{FA0B4137-B8CC-4360-818D-65E2F503F65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585052276" sldId="1881838599"/>
            <ac:spMk id="22" creationId="{D24A5D32-02BE-41E1-8A1C-CE9392B1C104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1967693377" sldId="1881838601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67693377" sldId="1881838601"/>
            <ac:spMk id="2" creationId="{4824F1CC-EFC9-4A11-97C0-B64C2ABD3A8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67693377" sldId="1881838601"/>
            <ac:spMk id="6" creationId="{FAF97DD7-25F6-479B-A4C5-1BECA11B0AD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67693377" sldId="1881838601"/>
            <ac:spMk id="7" creationId="{A67EDF25-7CD8-41DF-8D85-C7261CFBE3A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67693377" sldId="1881838601"/>
            <ac:spMk id="12" creationId="{58C7FB72-5C16-4F2B-AFEC-AE106A93759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67693377" sldId="1881838601"/>
            <ac:spMk id="14" creationId="{1D1A00A7-9C47-40D3-B368-857D812B81D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67693377" sldId="1881838601"/>
            <ac:spMk id="15" creationId="{94B197E9-0E72-49AB-A235-DC3EA553193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67693377" sldId="1881838601"/>
            <ac:spMk id="16" creationId="{770BA709-53F3-43C8-9B8C-80CA1D14DA6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67693377" sldId="1881838601"/>
            <ac:spMk id="17" creationId="{167B6272-44BF-47E8-9BA5-D9A10B80FCC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67693377" sldId="1881838601"/>
            <ac:spMk id="18" creationId="{C4C8E4D8-F767-4ADA-B25D-749F5239608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967693377" sldId="1881838601"/>
            <ac:spMk id="19" creationId="{F19D3CE0-27C1-40E5-BE26-CC77EF1B1530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1.949" v="1117" actId="47"/>
        <pc:sldMkLst>
          <pc:docMk/>
          <pc:sldMk cId="1659193935" sldId="1881838617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59193935" sldId="1881838617"/>
            <ac:spMk id="2" creationId="{31AE2901-DE72-495D-AF3E-013CF3900D7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59193935" sldId="1881838617"/>
            <ac:spMk id="4" creationId="{2CA0AB1A-608C-4397-B54B-77231346D75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659193935" sldId="1881838617"/>
            <ac:spMk id="6" creationId="{FB38A579-2616-4476-9141-158F9D465019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0.681" v="1162" actId="47"/>
        <pc:sldMkLst>
          <pc:docMk/>
          <pc:sldMk cId="1043558205" sldId="1881838620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43558205" sldId="1881838620"/>
            <ac:spMk id="2" creationId="{C5304797-9D35-4401-B595-29B12F1D5BB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43558205" sldId="1881838620"/>
            <ac:spMk id="25" creationId="{511969A5-E4E7-4F6E-801D-BE352E8AD68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43558205" sldId="1881838620"/>
            <ac:spMk id="29" creationId="{C2CC8FD7-6B8C-45F6-AE49-CDFA179C988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43558205" sldId="1881838620"/>
            <ac:spMk id="33" creationId="{EEED9CB4-8ADC-4450-9063-4857E90062C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43558205" sldId="1881838620"/>
            <ac:spMk id="35" creationId="{6C6B4571-9734-42AA-9AF7-B7E1BB56B73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43558205" sldId="1881838620"/>
            <ac:spMk id="38" creationId="{2453CE17-F1A5-4AF1-B35B-0C09C4A82D9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43558205" sldId="1881838620"/>
            <ac:spMk id="42" creationId="{08C82028-B45F-4D66-BEEB-4CC3A4738B2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43558205" sldId="1881838620"/>
            <ac:spMk id="43" creationId="{A50A9D03-8055-4166-B6C5-BBD7C4ADBC5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43558205" sldId="1881838620"/>
            <ac:spMk id="48" creationId="{53C4F0F6-1E4E-4973-A5F9-E0FF44A1FB7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043558205" sldId="1881838620"/>
            <ac:spMk id="54" creationId="{57262586-1A44-444A-8EF9-044F02689BD7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3945675158" sldId="1881838621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45675158" sldId="1881838621"/>
            <ac:spMk id="2" creationId="{7BF00188-3C7A-4F1A-8469-DFF514DFC84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45675158" sldId="1881838621"/>
            <ac:spMk id="6" creationId="{EAFE0AD2-24B7-C548-8C02-6A64178E8FA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45675158" sldId="1881838621"/>
            <ac:spMk id="15" creationId="{C1DB2C01-F46B-4195-B2DD-A0DB5F2AF5B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45675158" sldId="1881838621"/>
            <ac:spMk id="27" creationId="{F5D1518B-48CD-42E4-8B5D-DF5BE008BFB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45675158" sldId="1881838621"/>
            <ac:spMk id="38" creationId="{2ED561EC-0957-4C7C-9EB7-2F27B6077BF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45675158" sldId="1881838621"/>
            <ac:spMk id="40" creationId="{0231D53E-8ADF-4A8D-ABA1-5F58A3651EF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45675158" sldId="1881838621"/>
            <ac:spMk id="50" creationId="{9B703817-9422-4641-B29B-34D222D2F5A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45675158" sldId="1881838621"/>
            <ac:spMk id="88" creationId="{D6FD07C2-C36F-4946-8E5A-B5D69A90EFA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45675158" sldId="1881838621"/>
            <ac:spMk id="97" creationId="{E348D5E6-7075-4B09-9614-52A301FFFF6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945675158" sldId="1881838621"/>
            <ac:spMk id="103" creationId="{91C08F50-7163-4728-8913-6AA196B852FE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47.457" v="1097" actId="47"/>
        <pc:sldMkLst>
          <pc:docMk/>
          <pc:sldMk cId="2133241783" sldId="1881838622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33241783" sldId="1881838622"/>
            <ac:spMk id="49" creationId="{63CD41C0-49FB-4417-B12D-495F77FC7D2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33241783" sldId="1881838622"/>
            <ac:spMk id="89" creationId="{7AD59295-0648-4249-8767-8DC10FBA30F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33241783" sldId="1881838622"/>
            <ac:spMk id="96" creationId="{63BC828F-3D86-48C8-9A8F-261DB42A14A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33241783" sldId="1881838622"/>
            <ac:spMk id="103" creationId="{9EB9A98D-0901-43C1-BFB8-E128488E1B2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33241783" sldId="1881838622"/>
            <ac:spMk id="138" creationId="{A7AA737F-96C1-4FC1-8047-B7EC9C2DA42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33241783" sldId="1881838622"/>
            <ac:spMk id="140" creationId="{E5927F67-1544-48B4-B079-A8A60137D76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33241783" sldId="1881838622"/>
            <ac:spMk id="177" creationId="{08EB9B39-62F7-4F85-BBFC-455395BC5DC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33241783" sldId="1881838622"/>
            <ac:spMk id="193" creationId="{8BDFC7B1-B6BD-4ABF-9075-BDDCD19E748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33241783" sldId="1881838622"/>
            <ac:spMk id="260" creationId="{4366DB68-5B45-4B8E-A10C-D070463A62B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33241783" sldId="1881838622"/>
            <ac:spMk id="291" creationId="{9C611DE8-0662-4BF1-B51F-6C464AD39406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3478030126" sldId="1881838624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78030126" sldId="1881838624"/>
            <ac:spMk id="2" creationId="{87A4E177-908D-403C-85A7-D808653C1A8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78030126" sldId="1881838624"/>
            <ac:spMk id="3" creationId="{BF66E803-1C5C-4B8A-A6BD-5A845DC0E2E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78030126" sldId="1881838624"/>
            <ac:spMk id="34" creationId="{88412984-2042-434A-8A52-C9A29EB9789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78030126" sldId="1881838624"/>
            <ac:spMk id="35" creationId="{40C0CC99-F03A-4B41-99D9-50E48366655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78030126" sldId="1881838624"/>
            <ac:spMk id="37" creationId="{C1CF95B2-A71D-4527-AE09-2EE52B8E542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78030126" sldId="1881838624"/>
            <ac:spMk id="38" creationId="{BD42F4E2-1F4A-4F1C-9FD7-98DFB2F5E37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78030126" sldId="1881838624"/>
            <ac:spMk id="41" creationId="{0B38CC9D-4FAF-43AB-BB60-1CBD70F32B0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78030126" sldId="1881838624"/>
            <ac:spMk id="42" creationId="{4A3895EE-C88C-4A71-A963-FE884DD25B7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78030126" sldId="1881838624"/>
            <ac:spMk id="78" creationId="{09EEDF16-41A9-426F-845A-B5BC011D06E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478030126" sldId="1881838624"/>
            <ac:spMk id="79" creationId="{0BA72CBD-19D8-48EA-83C7-8A0FD8732F42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10.870" v="1208" actId="47"/>
        <pc:sldMkLst>
          <pc:docMk/>
          <pc:sldMk cId="1724209097" sldId="1881838625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724209097" sldId="1881838625"/>
            <ac:spMk id="5" creationId="{C1073633-9FBD-4A00-B9EF-0435194A0EF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724209097" sldId="1881838625"/>
            <ac:spMk id="27" creationId="{CCC248A7-9AA2-46CA-9710-6B0E3FB54F2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724209097" sldId="1881838625"/>
            <ac:spMk id="34" creationId="{6BD9ABBC-ABD8-4C04-9126-FEDCC1F4A00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724209097" sldId="1881838625"/>
            <ac:spMk id="55" creationId="{0C2E8B45-BDF6-4B50-B2A7-0F913F47DB1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724209097" sldId="1881838625"/>
            <ac:spMk id="64" creationId="{B6EE9BC1-E678-489D-98C7-3DC7299A8D1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724209097" sldId="1881838625"/>
            <ac:spMk id="76" creationId="{B4D6770E-2578-44E0-AFE1-0B090242112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724209097" sldId="1881838625"/>
            <ac:spMk id="80" creationId="{502BF317-2386-4A06-8C2B-DDEB09192AD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724209097" sldId="1881838625"/>
            <ac:spMk id="96" creationId="{90E0D2F3-A1C4-4387-87CA-4D50396B106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724209097" sldId="1881838625"/>
            <ac:spMk id="110" creationId="{CAB9B022-3682-4D02-9805-6A670BC9DD2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724209097" sldId="1881838625"/>
            <ac:spMk id="179" creationId="{F7EDE428-C39D-4154-90BB-1B6741AEBD65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11.043" v="1209" actId="47"/>
        <pc:sldMkLst>
          <pc:docMk/>
          <pc:sldMk cId="3356251256" sldId="1881838626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356251256" sldId="1881838626"/>
            <ac:spMk id="2" creationId="{9340B7B4-E0A6-4C33-8D1D-25D9FB0ECC5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356251256" sldId="1881838626"/>
            <ac:spMk id="6" creationId="{7DEF8335-A321-472B-B75B-9CDC5B0963F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356251256" sldId="1881838626"/>
            <ac:spMk id="68" creationId="{3287D768-E555-4201-8CF1-2C074B7C928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356251256" sldId="1881838626"/>
            <ac:spMk id="69" creationId="{479B624D-1041-4800-AB4E-9737750D538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356251256" sldId="1881838626"/>
            <ac:spMk id="71" creationId="{37300B53-ED99-41DA-952C-F859583DE2C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356251256" sldId="1881838626"/>
            <ac:spMk id="72" creationId="{086AE636-CD3F-4B1C-B9EA-FFA229D7CEF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356251256" sldId="1881838626"/>
            <ac:spMk id="74" creationId="{BA4D9280-AA83-4423-88C8-D5770209EE5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356251256" sldId="1881838626"/>
            <ac:spMk id="77" creationId="{F3EFFA8F-5719-4A71-A3E9-417F2E12D2B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356251256" sldId="1881838626"/>
            <ac:spMk id="81" creationId="{EF7B7C56-18A3-4E04-BE5E-50B9BBF3F5A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356251256" sldId="1881838626"/>
            <ac:spMk id="82" creationId="{6DA3CC2D-79B8-4855-8DFD-B04C7C2FA117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11.440" v="1211" actId="47"/>
        <pc:sldMkLst>
          <pc:docMk/>
          <pc:sldMk cId="267213193" sldId="1881838627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7213193" sldId="1881838627"/>
            <ac:spMk id="2" creationId="{DE2F75AD-67EC-4209-9A5F-4D703C9C879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7213193" sldId="1881838627"/>
            <ac:spMk id="13" creationId="{A28819B0-CEFE-4AC2-B56F-1200BF2350C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7213193" sldId="1881838627"/>
            <ac:spMk id="14" creationId="{AD9EA726-5F06-4A95-A55B-37701E268D0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7213193" sldId="1881838627"/>
            <ac:spMk id="15" creationId="{0AE29D14-800E-4806-A3C1-E424AE6E876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7213193" sldId="1881838627"/>
            <ac:spMk id="16" creationId="{021836B7-64BA-4114-8083-28A91990342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7213193" sldId="1881838627"/>
            <ac:spMk id="41" creationId="{B4432EBC-8800-47A7-9EF5-91BC1F2F714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7213193" sldId="1881838627"/>
            <ac:spMk id="53" creationId="{5FD4C9A2-3A40-4D88-9112-83B66C1401D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67213193" sldId="1881838627"/>
            <ac:spMk id="65" creationId="{836DE01A-F8A4-485A-81D6-E40E76D8FE83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2.140" v="1118" actId="47"/>
        <pc:sldMkLst>
          <pc:docMk/>
          <pc:sldMk cId="2339535853" sldId="1881838630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39535853" sldId="1881838630"/>
            <ac:spMk id="9" creationId="{F4618063-9319-46E4-8C1A-F119E8FDB45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39535853" sldId="1881838630"/>
            <ac:spMk id="11" creationId="{7B76D650-E16F-4C60-A6FE-CE05C512084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39535853" sldId="1881838630"/>
            <ac:spMk id="12" creationId="{4DE60AC0-E8B0-4D1D-BEE0-B8954EF9752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39535853" sldId="1881838630"/>
            <ac:spMk id="14" creationId="{B26402FB-CA38-4CB7-89C1-2EB011AA153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39535853" sldId="1881838630"/>
            <ac:spMk id="15" creationId="{3CD5AF7E-7662-4D47-9659-A843FA3ADD7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39535853" sldId="1881838630"/>
            <ac:spMk id="18" creationId="{6228C1CA-9D33-4B3B-BD53-5410B492958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39535853" sldId="1881838630"/>
            <ac:spMk id="20" creationId="{6A200D65-AA0D-4F33-ADA9-65C0CC976A6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39535853" sldId="1881838630"/>
            <ac:spMk id="55" creationId="{15C08D04-CE6B-47C3-91B2-C15202080D7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39535853" sldId="1881838630"/>
            <ac:spMk id="56" creationId="{9007FB86-1148-4FF6-AE13-248679058D7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339535853" sldId="1881838630"/>
            <ac:spMk id="62" creationId="{3412B9D1-532C-43D4-B94B-6A8D70B280DC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2169572480" sldId="1881838631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69572480" sldId="1881838631"/>
            <ac:spMk id="7" creationId="{5BC722DF-824D-414C-8AD2-B5AADE86767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69572480" sldId="1881838631"/>
            <ac:spMk id="19" creationId="{1AA62378-72B9-4EDE-AAB1-97B6191E712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69572480" sldId="1881838631"/>
            <ac:spMk id="30" creationId="{8ABEC8C1-D663-46E1-81F3-17ADBBD7104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69572480" sldId="1881838631"/>
            <ac:spMk id="31" creationId="{66D1214C-B0EE-4BAD-AE80-5DCB6FBD51F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69572480" sldId="1881838631"/>
            <ac:spMk id="43" creationId="{47DBFF24-E7C0-4BB4-A28E-12D4078F423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69572480" sldId="1881838631"/>
            <ac:spMk id="92" creationId="{8A35BDC5-C66C-4EF2-B314-D0AE6C4473D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69572480" sldId="1881838631"/>
            <ac:spMk id="95" creationId="{A2745DBA-E473-4758-BA02-D9BCB7A8400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69572480" sldId="1881838631"/>
            <ac:spMk id="103" creationId="{B0644C01-0FF9-42ED-9CFD-86A56D21C9B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69572480" sldId="1881838631"/>
            <ac:spMk id="106" creationId="{74776A77-1E18-40E1-9DFE-FBA6ADA3D16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169572480" sldId="1881838631"/>
            <ac:spMk id="107" creationId="{54CB0109-9CD1-4C26-A211-DCB6D2E768D6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358043465" sldId="1881838635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8043465" sldId="1881838635"/>
            <ac:spMk id="5" creationId="{729FDB70-3122-46DC-BDC3-BA02F61A070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8043465" sldId="1881838635"/>
            <ac:spMk id="7" creationId="{7BC2DCA3-B5AC-4C67-AE4E-EF0A71B3DEE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8043465" sldId="1881838635"/>
            <ac:spMk id="8" creationId="{5F03B50B-800C-4B7A-92F1-3EB66F2A2E5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8043465" sldId="1881838635"/>
            <ac:spMk id="14" creationId="{FA74B454-A9B1-4785-9721-AF49246BEEB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8043465" sldId="1881838635"/>
            <ac:spMk id="16" creationId="{5820EB13-72D2-4A26-B4FE-775BDA45FAF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8043465" sldId="1881838635"/>
            <ac:spMk id="19" creationId="{7B2712DE-F8CF-4403-8B3B-548CB8FA33A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8043465" sldId="1881838635"/>
            <ac:spMk id="21" creationId="{BF2DDE6F-1CF9-4983-880F-1A03537255A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8043465" sldId="1881838635"/>
            <ac:spMk id="22" creationId="{6762A292-FCEA-405C-861A-68C77E6E678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8043465" sldId="1881838635"/>
            <ac:spMk id="26" creationId="{26BEEA45-94C9-4A1A-99F5-8E7F93CBAEE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8043465" sldId="1881838635"/>
            <ac:spMk id="28" creationId="{1448C198-BD2A-49C2-84E7-A0E08BEABFB7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07.504" v="1195" actId="47"/>
        <pc:sldMkLst>
          <pc:docMk/>
          <pc:sldMk cId="4151269525" sldId="1881838636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51269525" sldId="1881838636"/>
            <ac:spMk id="237" creationId="{9F828FF0-F0F9-46CB-BA7C-1F28937A873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51269525" sldId="1881838636"/>
            <ac:spMk id="240" creationId="{60F3B0A6-6A81-4C17-A2F1-5991DC2EF37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51269525" sldId="1881838636"/>
            <ac:spMk id="258" creationId="{4E364298-DE29-4D3C-B442-6C13417B780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51269525" sldId="1881838636"/>
            <ac:spMk id="263" creationId="{2045E8B5-E85C-4619-8784-6EFC23006D9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51269525" sldId="1881838636"/>
            <ac:spMk id="413" creationId="{CB380D0A-F95B-4E83-BEBC-F44DB813A9D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51269525" sldId="1881838636"/>
            <ac:spMk id="442" creationId="{EFF0DC73-B27F-4EAA-AE4B-E189A35AA1F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51269525" sldId="1881838636"/>
            <ac:spMk id="443" creationId="{5ECF252D-2689-4B4E-AF21-3B1DC1B141A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51269525" sldId="1881838636"/>
            <ac:spMk id="450" creationId="{6439578B-E4E2-4D6F-BCCD-4F2436E87C5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51269525" sldId="1881838636"/>
            <ac:spMk id="476" creationId="{CE05EB5C-43BF-4A32-A434-0EC40D51F27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4151269525" sldId="1881838636"/>
            <ac:spMk id="484" creationId="{36AF4A28-F8C8-40FD-8CAA-A6AA1BF82D2A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2263864183" sldId="1881838637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3864183" sldId="1881838637"/>
            <ac:spMk id="3" creationId="{A8966C17-91BC-4326-A9E3-AEBB965FC2B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3864183" sldId="1881838637"/>
            <ac:spMk id="5" creationId="{95AE6F4C-12FE-43E5-AAF9-8B8B943D677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3864183" sldId="1881838637"/>
            <ac:spMk id="10" creationId="{97F5F316-168D-46CE-A5B9-E4F2871CE7A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3864183" sldId="1881838637"/>
            <ac:spMk id="11" creationId="{E602FCAB-A27A-4689-A216-6D338C3DB71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3864183" sldId="1881838637"/>
            <ac:spMk id="12" creationId="{2D50270C-B758-4D09-899B-24455D91BB0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3864183" sldId="1881838637"/>
            <ac:spMk id="13" creationId="{A02443C6-8D11-4642-9AE6-5A1F1237132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3864183" sldId="1881838637"/>
            <ac:spMk id="14" creationId="{B973007B-4BAC-4076-BBBB-245927422E5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3864183" sldId="1881838637"/>
            <ac:spMk id="15" creationId="{B9D9A089-B6ED-43BC-94CD-0B7D572F0E9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263864183" sldId="1881838637"/>
            <ac:spMk id="16" creationId="{B21EE511-89CB-4B35-BE47-9A3742640D32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3514952866" sldId="1881838638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14952866" sldId="1881838638"/>
            <ac:spMk id="2" creationId="{9CDD7E1C-44A1-4D38-8CC3-CB27CF5130A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14952866" sldId="1881838638"/>
            <ac:spMk id="4" creationId="{1C13917B-ACD1-489E-8B4C-EEFEE808A76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14952866" sldId="1881838638"/>
            <ac:spMk id="5" creationId="{743D4295-A990-4E81-A00F-7B674F5EAC2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14952866" sldId="1881838638"/>
            <ac:spMk id="6" creationId="{81E434E5-A2F4-41D4-8C22-DCA484325DF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14952866" sldId="1881838638"/>
            <ac:spMk id="7" creationId="{C97BFD8F-B584-4A1C-90D9-ECE4CB3F072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14952866" sldId="1881838638"/>
            <ac:spMk id="8" creationId="{5CF8F7CE-681A-4719-AF4D-E2F6360A414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14952866" sldId="1881838638"/>
            <ac:spMk id="13" creationId="{6F0418D8-8649-4F84-98E7-3E9390E3AFE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14952866" sldId="1881838638"/>
            <ac:spMk id="17" creationId="{92D40996-BC8E-4FD8-A571-510F0533814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14952866" sldId="1881838638"/>
            <ac:spMk id="18" creationId="{A0B9538D-10F5-45CD-B25F-E6F600570F1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514952866" sldId="1881838638"/>
            <ac:spMk id="19" creationId="{087B62BE-42F3-4451-8559-63B7A21580E0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2815021827" sldId="1881838639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15021827" sldId="1881838639"/>
            <ac:spMk id="2" creationId="{2C5E1D23-B372-4898-822B-3BB833CC2AD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15021827" sldId="1881838639"/>
            <ac:spMk id="3" creationId="{32BCC1A8-F571-4E69-A34B-4E2EA0591A3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15021827" sldId="1881838639"/>
            <ac:spMk id="5" creationId="{FE06CA3D-3988-4FDD-9B09-07AD8CC850D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15021827" sldId="1881838639"/>
            <ac:spMk id="6" creationId="{C0543393-5ED1-4804-A5CE-D19EAE722C8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15021827" sldId="1881838639"/>
            <ac:spMk id="7" creationId="{C0CB666C-E44B-4EB7-BCC4-090504A99A1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15021827" sldId="1881838639"/>
            <ac:spMk id="8" creationId="{FE39803C-B97D-4BFE-AB52-3BE774F7575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15021827" sldId="1881838639"/>
            <ac:spMk id="9" creationId="{C86C1F2A-1067-4895-9A77-6F434EF50B8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15021827" sldId="1881838639"/>
            <ac:spMk id="11" creationId="{3DD82242-B48B-4699-8B1E-742DDE6906A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15021827" sldId="1881838639"/>
            <ac:spMk id="14" creationId="{9CA8C99B-04B2-48D0-98A6-1D146142FFA4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15021827" sldId="1881838639"/>
            <ac:spMk id="15" creationId="{5FA13CA3-7BDA-4DA3-BB9E-96C1F92FEAAD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2846383075" sldId="1881838640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46383075" sldId="1881838640"/>
            <ac:spMk id="2" creationId="{E4D67B1B-3C8E-4CC5-B0E6-19772204CC3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46383075" sldId="1881838640"/>
            <ac:spMk id="4" creationId="{FA23E0C7-A60F-49C5-8B52-83ACE97E259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46383075" sldId="1881838640"/>
            <ac:spMk id="5" creationId="{128CD902-4298-4B8F-8649-1BA5ABFD5FA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46383075" sldId="1881838640"/>
            <ac:spMk id="9" creationId="{F427D4E5-D336-49C2-AC24-2F7619C316C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46383075" sldId="1881838640"/>
            <ac:spMk id="11" creationId="{1A89294B-AE46-491F-A219-AA48392CCCE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46383075" sldId="1881838640"/>
            <ac:spMk id="12" creationId="{1C1F8564-5337-4119-A387-C69DAB792F2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46383075" sldId="1881838640"/>
            <ac:spMk id="13" creationId="{A4612CBB-28C8-48DB-864F-CEE3B0E377D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46383075" sldId="1881838640"/>
            <ac:spMk id="14" creationId="{073CBCB2-2B91-4DE7-B977-E90F0D4CC34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46383075" sldId="1881838640"/>
            <ac:spMk id="17" creationId="{3EFD7FDC-61AC-432F-B41E-1D245754F221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335495122" sldId="1881838641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35495122" sldId="1881838641"/>
            <ac:spMk id="4" creationId="{E160CB8D-569F-4169-96BC-082C6CB2679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35495122" sldId="1881838641"/>
            <ac:spMk id="5" creationId="{FE06CA3D-3988-4FDD-9B09-07AD8CC850D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35495122" sldId="1881838641"/>
            <ac:spMk id="8" creationId="{FE39803C-B97D-4BFE-AB52-3BE774F7575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35495122" sldId="1881838641"/>
            <ac:spMk id="11" creationId="{3DD82242-B48B-4699-8B1E-742DDE6906A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35495122" sldId="1881838641"/>
            <ac:spMk id="13" creationId="{80B1FF8A-93DD-4CCD-A1F9-4250E61C4F8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35495122" sldId="1881838641"/>
            <ac:spMk id="14" creationId="{68F45280-A0F0-4E05-85F6-074A70A59FC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35495122" sldId="1881838641"/>
            <ac:spMk id="15" creationId="{40AA69A2-8DBB-40D9-8DCE-BE07A33AB77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35495122" sldId="1881838641"/>
            <ac:spMk id="16" creationId="{247D27D1-312B-4852-A3F7-DC9AACC01F4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35495122" sldId="1881838641"/>
            <ac:spMk id="21" creationId="{22F51836-4BE2-4AB3-AF38-617ADC89DC7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35495122" sldId="1881838641"/>
            <ac:spMk id="25" creationId="{8F8E55BA-CFB2-4003-95CB-16F0CB0CF089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3708778834" sldId="1881838644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08778834" sldId="1881838644"/>
            <ac:spMk id="3" creationId="{75C1ABD6-8071-462F-995D-C15FCBF88D9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08778834" sldId="1881838644"/>
            <ac:spMk id="11" creationId="{3DD82242-B48B-4699-8B1E-742DDE6906A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08778834" sldId="1881838644"/>
            <ac:spMk id="15" creationId="{40AA69A2-8DBB-40D9-8DCE-BE07A33AB77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08778834" sldId="1881838644"/>
            <ac:spMk id="16" creationId="{F98AD166-F947-4E74-BB0B-3F23490EE3F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08778834" sldId="1881838644"/>
            <ac:spMk id="17" creationId="{85A944A4-9CF1-488B-B538-582450A376B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08778834" sldId="1881838644"/>
            <ac:spMk id="22" creationId="{A133F516-5018-491A-8DE6-74C469F1244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08778834" sldId="1881838644"/>
            <ac:spMk id="23" creationId="{F7A763B3-57D6-44B2-9EC9-A455D692407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08778834" sldId="1881838644"/>
            <ac:spMk id="24" creationId="{D6056AA8-76D6-442F-AB76-1D55FAEE36AF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08778834" sldId="1881838644"/>
            <ac:spMk id="31" creationId="{E1790FB9-E581-4D79-8294-6458F029D05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08778834" sldId="1881838644"/>
            <ac:spMk id="32" creationId="{4EE2D256-27C5-4177-B8C1-8249470C520F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2887183839" sldId="1881838645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87183839" sldId="1881838645"/>
            <ac:spMk id="5" creationId="{D0EA7883-E0CF-4157-AF9D-C4DB7224724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87183839" sldId="1881838645"/>
            <ac:spMk id="6" creationId="{00000000-0000-0000-0000-00000000000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87183839" sldId="1881838645"/>
            <ac:spMk id="9" creationId="{F5A1D14F-C9A6-4CEC-A2ED-681DA9DE1CB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87183839" sldId="1881838645"/>
            <ac:spMk id="11" creationId="{2DCC214C-2B82-4795-A284-EA6ABDA0C5F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87183839" sldId="1881838645"/>
            <ac:spMk id="14" creationId="{4EE5C0A5-F1B5-41F5-92DF-9CEF78055BC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87183839" sldId="1881838645"/>
            <ac:spMk id="17" creationId="{D7576EF5-B768-4B09-AE9A-C8A1B0D4991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87183839" sldId="1881838645"/>
            <ac:spMk id="27" creationId="{19185FE6-E87E-484C-BB3A-72FC9ADCA25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87183839" sldId="1881838645"/>
            <ac:spMk id="29" creationId="{92FBA7C2-D5F1-486B-931A-39DAAA35376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87183839" sldId="1881838645"/>
            <ac:spMk id="30" creationId="{17F1E1C0-CE4E-4EAF-AAFE-36C2387C91C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87183839" sldId="1881838645"/>
            <ac:spMk id="31" creationId="{38898297-38DB-42B7-BC53-67C692484755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2769076072" sldId="1881838649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69076072" sldId="1881838649"/>
            <ac:spMk id="3" creationId="{20AB1FB0-1752-4A9D-8E76-1100050F44D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69076072" sldId="1881838649"/>
            <ac:spMk id="25" creationId="{295DF999-4FBF-4429-AC57-69D0A728154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69076072" sldId="1881838649"/>
            <ac:spMk id="26" creationId="{81682620-F079-4F57-AB26-FB74B002B38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69076072" sldId="1881838649"/>
            <ac:spMk id="48" creationId="{1A26AB7C-3DBA-483B-AC44-4EF8B42529D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69076072" sldId="1881838649"/>
            <ac:spMk id="58" creationId="{F528A43B-4061-4875-9C9E-F215804D82D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69076072" sldId="1881838649"/>
            <ac:spMk id="59" creationId="{C91F68C0-0E3F-4BA0-BBDC-36B639E56D8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69076072" sldId="1881838649"/>
            <ac:spMk id="62" creationId="{696D0A0A-760A-4648-963D-B8E9606DA0D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69076072" sldId="1881838649"/>
            <ac:spMk id="65" creationId="{AB9CD922-E54E-4F41-B73F-2403D02A30D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69076072" sldId="1881838649"/>
            <ac:spMk id="67" creationId="{CFC079D7-ECBB-4233-BFF7-EBB341F5A72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769076072" sldId="1881838649"/>
            <ac:spMk id="78" creationId="{61223F2A-8929-4A4C-B7D8-9D8237BFEBB2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2096535400" sldId="1881838650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96535400" sldId="1881838650"/>
            <ac:spMk id="4" creationId="{D6B7286D-F0F8-4023-919B-296411E28F9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96535400" sldId="1881838650"/>
            <ac:spMk id="29" creationId="{30660CDC-1B3E-4997-A68D-DBB8A9DD1E0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96535400" sldId="1881838650"/>
            <ac:spMk id="30" creationId="{13C20163-FB60-412D-9EAF-B4C83D09D09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96535400" sldId="1881838650"/>
            <ac:spMk id="31" creationId="{8A1D5A1B-6F05-4715-8F0D-747721C711C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96535400" sldId="1881838650"/>
            <ac:spMk id="32" creationId="{B0892545-11F4-4675-8DB1-010C51BE084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96535400" sldId="1881838650"/>
            <ac:spMk id="33" creationId="{9E7DD891-66E3-4D2E-8EEE-5FEE022E85A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96535400" sldId="1881838650"/>
            <ac:spMk id="35" creationId="{72834345-FB4E-4672-B39E-C1ED7E4B63B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96535400" sldId="1881838650"/>
            <ac:spMk id="37" creationId="{6FE6A3D0-73CE-46E0-88BD-6B7A9205FAB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96535400" sldId="1881838650"/>
            <ac:spMk id="42" creationId="{43AC042F-D2FE-4700-90E5-5C4388B885B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096535400" sldId="1881838650"/>
            <ac:spMk id="48" creationId="{38E8D88B-6D94-468C-93DC-A425996A8373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2400442477" sldId="1881838651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00442477" sldId="1881838651"/>
            <ac:spMk id="6" creationId="{00000000-0000-0000-0000-00000000000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00442477" sldId="1881838651"/>
            <ac:spMk id="9" creationId="{05E9464E-0CB8-4B9C-979E-94FDFF45819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00442477" sldId="1881838651"/>
            <ac:spMk id="17" creationId="{B8A7D1F0-AF79-4F2C-BDEA-920E834E8DC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00442477" sldId="1881838651"/>
            <ac:spMk id="34" creationId="{D00D5EE9-3ED5-41FF-8119-A16F70EF490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00442477" sldId="1881838651"/>
            <ac:spMk id="40" creationId="{05CC9020-9524-474C-BB76-32427531352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00442477" sldId="1881838651"/>
            <ac:spMk id="41" creationId="{0F1991FF-5355-42CE-A0B1-574334E4F87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00442477" sldId="1881838651"/>
            <ac:spMk id="42" creationId="{D826F7FD-EEA7-42CB-9E2B-58220C87433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400442477" sldId="1881838651"/>
            <ac:spMk id="43" creationId="{EF60B4BE-5B27-4E2D-86EE-C4162B3D09FC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01.776" v="1084" actId="18676"/>
        <pc:sldMkLst>
          <pc:docMk/>
          <pc:sldMk cId="1873695168" sldId="1881838653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3695168" sldId="1881838653"/>
            <ac:spMk id="9" creationId="{421A7D95-09B8-4941-BE7A-B489A1DA523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3695168" sldId="1881838653"/>
            <ac:spMk id="10" creationId="{F6FAE5CA-BA67-41F7-AC7B-83777438080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3695168" sldId="1881838653"/>
            <ac:spMk id="12" creationId="{0035B4E2-975B-4AE7-904F-5D09F98FD7F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3695168" sldId="1881838653"/>
            <ac:spMk id="23" creationId="{F54896F8-A002-414F-B5C4-D84CBC7D4D39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3695168" sldId="1881838653"/>
            <ac:spMk id="26" creationId="{17715D5A-1230-4C7E-BFFC-63DF98BDFC62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3695168" sldId="1881838653"/>
            <ac:spMk id="31" creationId="{36754840-64C4-44C8-8157-5230B764901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3695168" sldId="1881838653"/>
            <ac:spMk id="33" creationId="{0E345B77-E08D-423E-802D-B179893ED3A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3695168" sldId="1881838653"/>
            <ac:spMk id="35" creationId="{AD4E728B-1962-4B96-9E97-9EC8A1D7B0D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3695168" sldId="1881838653"/>
            <ac:spMk id="41" creationId="{84118B20-4984-4153-879D-E0694A71A58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1873695168" sldId="1881838653"/>
            <ac:spMk id="43" creationId="{0FDADA35-5D4C-4543-A7B3-0F750D69BA96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9.645" v="1157" actId="47"/>
        <pc:sldMkLst>
          <pc:docMk/>
          <pc:sldMk cId="3794166041" sldId="1881838657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94166041" sldId="1881838657"/>
            <ac:spMk id="2" creationId="{7B8F6063-DD5B-4C2F-8BEB-C555C0EACC7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94166041" sldId="1881838657"/>
            <ac:spMk id="3" creationId="{A44F0B2B-97DF-4E71-96D6-121C88116D7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94166041" sldId="1881838657"/>
            <ac:spMk id="23" creationId="{26E7771D-B918-4E2C-8582-632220592683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94166041" sldId="1881838657"/>
            <ac:spMk id="25" creationId="{CDCE0066-01BC-48AE-AB57-81EDFE4E251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94166041" sldId="1881838657"/>
            <ac:spMk id="26" creationId="{4CDE0646-327E-49D4-A211-CFD8790DA81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94166041" sldId="1881838657"/>
            <ac:spMk id="28" creationId="{E3AA117A-595C-4CBE-BE7D-225B2CB3CEF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94166041" sldId="1881838657"/>
            <ac:spMk id="36" creationId="{580C0E28-583F-4FCF-B050-851F4F719BD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94166041" sldId="1881838657"/>
            <ac:spMk id="39" creationId="{BAE30693-44EB-4061-BE13-F48019F3C83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94166041" sldId="1881838657"/>
            <ac:spMk id="40" creationId="{29892173-094D-4EAA-A521-50D4CCF5BAA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3794166041" sldId="1881838657"/>
            <ac:spMk id="42" creationId="{35AFBF0E-A2CD-4AD3-967B-56D00E6FB48C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5:59.467" v="1156" actId="47"/>
        <pc:sldMkLst>
          <pc:docMk/>
          <pc:sldMk cId="2874841228" sldId="1881838658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74841228" sldId="1881838658"/>
            <ac:spMk id="2" creationId="{7B8F6063-DD5B-4C2F-8BEB-C555C0EACC7E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74841228" sldId="1881838658"/>
            <ac:spMk id="3" creationId="{A44F0B2B-97DF-4E71-96D6-121C88116D7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74841228" sldId="1881838658"/>
            <ac:spMk id="6" creationId="{9868A498-89D7-40AC-9070-CB4386D0506A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74841228" sldId="1881838658"/>
            <ac:spMk id="7" creationId="{988B2700-2D7B-437F-9BBD-AD6B9E10B58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74841228" sldId="1881838658"/>
            <ac:spMk id="8" creationId="{9F646D50-6CE8-463F-8AB1-AF5138F61BB5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74841228" sldId="1881838658"/>
            <ac:spMk id="9" creationId="{A568D0C1-CBB7-41EE-A67C-D01BF519766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2874841228" sldId="1881838658"/>
            <ac:spMk id="10" creationId="{059627B2-778F-4FF4-BC71-CBBB170FD803}"/>
          </ac:spMkLst>
        </pc:spChg>
      </pc:sldChg>
      <pc:sldChg chg="modSp del mod">
        <pc:chgData name="Jacobo Domenech Agustin" userId="61653385-aed2-4090-aacd-8680af36a6e0" providerId="ADAL" clId="{E8696C2D-FC87-47CC-A9AD-4DDD29F13C82}" dt="2025-09-25T13:56:11.259" v="1210" actId="47"/>
        <pc:sldMkLst>
          <pc:docMk/>
          <pc:sldMk cId="967655479" sldId="1881838659"/>
        </pc:sldMkLst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67655479" sldId="1881838659"/>
            <ac:spMk id="2" creationId="{DE2F75AD-67EC-4209-9A5F-4D703C9C8798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67655479" sldId="1881838659"/>
            <ac:spMk id="6" creationId="{2CCA0EA1-30CF-43EA-92D3-467587C21966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67655479" sldId="1881838659"/>
            <ac:spMk id="15" creationId="{1F60CA54-670D-4212-A5E1-75EE0E5DC38B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67655479" sldId="1881838659"/>
            <ac:spMk id="20" creationId="{25B26801-9BFE-49BB-80E2-17327892E23C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67655479" sldId="1881838659"/>
            <ac:spMk id="21" creationId="{2336BBAD-FCA4-4561-9B53-41A48866937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67655479" sldId="1881838659"/>
            <ac:spMk id="28" creationId="{1D3ECA9B-9C08-4A39-9ECC-2E343E400840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67655479" sldId="1881838659"/>
            <ac:spMk id="38" creationId="{AB797EB0-D1B8-494F-9F48-1FD0953A7DB7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67655479" sldId="1881838659"/>
            <ac:spMk id="39" creationId="{A02A984A-BA69-47D8-9E6F-D8A88115D401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67655479" sldId="1881838659"/>
            <ac:spMk id="41" creationId="{B4432EBC-8800-47A7-9EF5-91BC1F2F714D}"/>
          </ac:spMkLst>
        </pc:spChg>
        <pc:spChg chg="mod">
          <ac:chgData name="Jacobo Domenech Agustin" userId="61653385-aed2-4090-aacd-8680af36a6e0" providerId="ADAL" clId="{E8696C2D-FC87-47CC-A9AD-4DDD29F13C82}" dt="2025-09-25T13:30:55.488" v="83" actId="790"/>
          <ac:spMkLst>
            <pc:docMk/>
            <pc:sldMk cId="967655479" sldId="1881838659"/>
            <ac:spMk id="47" creationId="{765F53C0-7AFC-46AC-A4EB-BD5E8B28F4CC}"/>
          </ac:spMkLst>
        </pc:spChg>
      </pc:sldChg>
      <pc:sldChg chg="modSp add mod">
        <pc:chgData name="Jacobo Domenech Agustin" userId="61653385-aed2-4090-aacd-8680af36a6e0" providerId="ADAL" clId="{E8696C2D-FC87-47CC-A9AD-4DDD29F13C82}" dt="2025-09-25T13:57:58.671" v="1267" actId="790"/>
        <pc:sldMkLst>
          <pc:docMk/>
          <pc:sldMk cId="2694194480" sldId="1881838660"/>
        </pc:sldMkLst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2694194480" sldId="1881838660"/>
            <ac:spMk id="4" creationId="{7CAFFB18-A5EC-B60E-2493-51B5903F5FA6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2694194480" sldId="1881838660"/>
            <ac:spMk id="9" creationId="{068E407D-B86B-AA6C-43DC-00C09F19BDA3}"/>
          </ac:spMkLst>
        </pc:spChg>
      </pc:sldChg>
      <pc:sldChg chg="modSp add mod">
        <pc:chgData name="Jacobo Domenech Agustin" userId="61653385-aed2-4090-aacd-8680af36a6e0" providerId="ADAL" clId="{E8696C2D-FC87-47CC-A9AD-4DDD29F13C82}" dt="2025-09-25T13:57:58.671" v="1267" actId="790"/>
        <pc:sldMkLst>
          <pc:docMk/>
          <pc:sldMk cId="872802586" sldId="1881838661"/>
        </pc:sldMkLst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872802586" sldId="1881838661"/>
            <ac:spMk id="4" creationId="{499AF767-8CB0-373A-06B0-0BB5A8101664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872802586" sldId="1881838661"/>
            <ac:spMk id="9" creationId="{7BF89096-2F84-5C72-C611-748F71AA1B8D}"/>
          </ac:spMkLst>
        </pc:spChg>
      </pc:sldChg>
      <pc:sldChg chg="modSp add mod">
        <pc:chgData name="Jacobo Domenech Agustin" userId="61653385-aed2-4090-aacd-8680af36a6e0" providerId="ADAL" clId="{E8696C2D-FC87-47CC-A9AD-4DDD29F13C82}" dt="2025-09-25T13:57:58.671" v="1267" actId="790"/>
        <pc:sldMkLst>
          <pc:docMk/>
          <pc:sldMk cId="25113808" sldId="1881838662"/>
        </pc:sldMkLst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25113808" sldId="1881838662"/>
            <ac:spMk id="2" creationId="{335934A5-44BF-B23C-55A1-B6770F6DBAAE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25113808" sldId="1881838662"/>
            <ac:spMk id="3" creationId="{DE28348B-CA7D-98B9-F965-3CC9F3A1E4C4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25113808" sldId="1881838662"/>
            <ac:spMk id="6" creationId="{2A11A355-7438-4F0D-6235-7608D9663C01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25113808" sldId="1881838662"/>
            <ac:spMk id="12" creationId="{1A331DBD-5ACE-DA9C-CD20-62DF6AA56D6A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25113808" sldId="1881838662"/>
            <ac:spMk id="21" creationId="{577ADB19-EB46-163E-061B-AABF932BF0A4}"/>
          </ac:spMkLst>
        </pc:spChg>
      </pc:sldChg>
      <pc:sldChg chg="modSp add mod">
        <pc:chgData name="Jacobo Domenech Agustin" userId="61653385-aed2-4090-aacd-8680af36a6e0" providerId="ADAL" clId="{E8696C2D-FC87-47CC-A9AD-4DDD29F13C82}" dt="2025-09-25T13:57:58.671" v="1267" actId="790"/>
        <pc:sldMkLst>
          <pc:docMk/>
          <pc:sldMk cId="1525270515" sldId="1881838663"/>
        </pc:sldMkLst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1525270515" sldId="1881838663"/>
            <ac:spMk id="4" creationId="{79A70E8B-A03B-289D-CE57-C287EC2F8692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1525270515" sldId="1881838663"/>
            <ac:spMk id="9" creationId="{1EC8F01B-6ABA-495A-F89B-7D12F843BADA}"/>
          </ac:spMkLst>
        </pc:spChg>
      </pc:sldChg>
      <pc:sldChg chg="modSp add mod">
        <pc:chgData name="Jacobo Domenech Agustin" userId="61653385-aed2-4090-aacd-8680af36a6e0" providerId="ADAL" clId="{E8696C2D-FC87-47CC-A9AD-4DDD29F13C82}" dt="2025-09-25T13:57:58.671" v="1267" actId="790"/>
        <pc:sldMkLst>
          <pc:docMk/>
          <pc:sldMk cId="3107974291" sldId="1881838664"/>
        </pc:sldMkLst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3107974291" sldId="1881838664"/>
            <ac:spMk id="2" creationId="{ED4E5C28-D45D-FBD3-321C-57DE4BD059DE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3107974291" sldId="1881838664"/>
            <ac:spMk id="3" creationId="{44C1D1AE-BA0D-0DD0-DB41-288B0899FFE4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3107974291" sldId="1881838664"/>
            <ac:spMk id="6" creationId="{17E46FC5-496E-1069-B328-0F6A27AA317B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3107974291" sldId="1881838664"/>
            <ac:spMk id="12" creationId="{C5C302D9-5207-3FC3-C1FF-B674A9DBE452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3107974291" sldId="1881838664"/>
            <ac:spMk id="21" creationId="{6B0D77DE-79F0-369C-FAF5-00C9483536A8}"/>
          </ac:spMkLst>
        </pc:spChg>
      </pc:sldChg>
      <pc:sldChg chg="modSp add mod">
        <pc:chgData name="Jacobo Domenech Agustin" userId="61653385-aed2-4090-aacd-8680af36a6e0" providerId="ADAL" clId="{E8696C2D-FC87-47CC-A9AD-4DDD29F13C82}" dt="2025-09-25T13:57:58.671" v="1267" actId="790"/>
        <pc:sldMkLst>
          <pc:docMk/>
          <pc:sldMk cId="1049116289" sldId="1881838665"/>
        </pc:sldMkLst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1049116289" sldId="1881838665"/>
            <ac:spMk id="2" creationId="{6DF1682B-D46F-3855-86E9-CA2BB0BF5E9F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1049116289" sldId="1881838665"/>
            <ac:spMk id="3" creationId="{0D6EC931-E004-AEAC-0A5D-1E330B31E182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1049116289" sldId="1881838665"/>
            <ac:spMk id="6" creationId="{5D366467-7375-5E68-BDE6-1D73688BD20C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1049116289" sldId="1881838665"/>
            <ac:spMk id="12" creationId="{7664FC2D-0974-09DF-D903-01DF1E3271E3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1049116289" sldId="1881838665"/>
            <ac:spMk id="21" creationId="{2E3BEEF6-2825-8992-1A50-BB3CA4711CB7}"/>
          </ac:spMkLst>
        </pc:spChg>
      </pc:sldChg>
      <pc:sldChg chg="modSp add mod">
        <pc:chgData name="Jacobo Domenech Agustin" userId="61653385-aed2-4090-aacd-8680af36a6e0" providerId="ADAL" clId="{E8696C2D-FC87-47CC-A9AD-4DDD29F13C82}" dt="2025-09-25T13:57:58.671" v="1267" actId="790"/>
        <pc:sldMkLst>
          <pc:docMk/>
          <pc:sldMk cId="232877732" sldId="1881838666"/>
        </pc:sldMkLst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232877732" sldId="1881838666"/>
            <ac:spMk id="4" creationId="{EC84332D-9841-7943-9933-97EB09404500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232877732" sldId="1881838666"/>
            <ac:spMk id="9" creationId="{6D9692F0-F7E6-8099-1825-F4FCDA916B67}"/>
          </ac:spMkLst>
        </pc:spChg>
      </pc:sldChg>
      <pc:sldChg chg="addSp delSp modSp add mod">
        <pc:chgData name="Jacobo Domenech Agustin" userId="61653385-aed2-4090-aacd-8680af36a6e0" providerId="ADAL" clId="{E8696C2D-FC87-47CC-A9AD-4DDD29F13C82}" dt="2025-09-25T14:17:45.465" v="2532" actId="14100"/>
        <pc:sldMkLst>
          <pc:docMk/>
          <pc:sldMk cId="990278712" sldId="1881838667"/>
        </pc:sldMkLst>
        <pc:spChg chg="add mod">
          <ac:chgData name="Jacobo Domenech Agustin" userId="61653385-aed2-4090-aacd-8680af36a6e0" providerId="ADAL" clId="{E8696C2D-FC87-47CC-A9AD-4DDD29F13C82}" dt="2025-09-25T14:15:20.291" v="2467" actId="164"/>
          <ac:spMkLst>
            <pc:docMk/>
            <pc:sldMk cId="990278712" sldId="1881838667"/>
            <ac:spMk id="4" creationId="{1CE2264D-C158-74B6-E18C-83C45240B482}"/>
          </ac:spMkLst>
        </pc:spChg>
        <pc:spChg chg="add del mod">
          <ac:chgData name="Jacobo Domenech Agustin" userId="61653385-aed2-4090-aacd-8680af36a6e0" providerId="ADAL" clId="{E8696C2D-FC87-47CC-A9AD-4DDD29F13C82}" dt="2025-09-25T14:13:45.078" v="2161" actId="21"/>
          <ac:spMkLst>
            <pc:docMk/>
            <pc:sldMk cId="990278712" sldId="1881838667"/>
            <ac:spMk id="5" creationId="{771A46BF-771B-E766-B521-2ED99D50687D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990278712" sldId="1881838667"/>
            <ac:spMk id="6" creationId="{EA3E5672-167B-8211-F95D-71DD312008A4}"/>
          </ac:spMkLst>
        </pc:spChg>
        <pc:spChg chg="add del mod">
          <ac:chgData name="Jacobo Domenech Agustin" userId="61653385-aed2-4090-aacd-8680af36a6e0" providerId="ADAL" clId="{E8696C2D-FC87-47CC-A9AD-4DDD29F13C82}" dt="2025-09-25T14:08:14.729" v="1892" actId="478"/>
          <ac:spMkLst>
            <pc:docMk/>
            <pc:sldMk cId="990278712" sldId="1881838667"/>
            <ac:spMk id="7" creationId="{AE79FD54-5361-DBDA-9F4D-84FFD8EAB1C3}"/>
          </ac:spMkLst>
        </pc:spChg>
        <pc:spChg chg="add mod">
          <ac:chgData name="Jacobo Domenech Agustin" userId="61653385-aed2-4090-aacd-8680af36a6e0" providerId="ADAL" clId="{E8696C2D-FC87-47CC-A9AD-4DDD29F13C82}" dt="2025-09-25T14:15:25.918" v="2468" actId="164"/>
          <ac:spMkLst>
            <pc:docMk/>
            <pc:sldMk cId="990278712" sldId="1881838667"/>
            <ac:spMk id="8" creationId="{927A9056-7DDC-CDE4-C9A3-09FEF4EA62CB}"/>
          </ac:spMkLst>
        </pc:spChg>
        <pc:spChg chg="mod">
          <ac:chgData name="Jacobo Domenech Agustin" userId="61653385-aed2-4090-aacd-8680af36a6e0" providerId="ADAL" clId="{E8696C2D-FC87-47CC-A9AD-4DDD29F13C82}" dt="2025-09-25T14:15:20.291" v="2467" actId="164"/>
          <ac:spMkLst>
            <pc:docMk/>
            <pc:sldMk cId="990278712" sldId="1881838667"/>
            <ac:spMk id="10" creationId="{6627FB0B-C0FF-BFC9-D38A-52EF29894FA3}"/>
          </ac:spMkLst>
        </pc:spChg>
        <pc:spChg chg="del mod">
          <ac:chgData name="Jacobo Domenech Agustin" userId="61653385-aed2-4090-aacd-8680af36a6e0" providerId="ADAL" clId="{E8696C2D-FC87-47CC-A9AD-4DDD29F13C82}" dt="2025-09-25T14:13:45.078" v="2161" actId="21"/>
          <ac:spMkLst>
            <pc:docMk/>
            <pc:sldMk cId="990278712" sldId="1881838667"/>
            <ac:spMk id="11" creationId="{FFC866F2-04DE-9087-C9FC-01ACF30FFDE8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990278712" sldId="1881838667"/>
            <ac:spMk id="12" creationId="{7F9B0201-61F4-F066-803B-358928F098CE}"/>
          </ac:spMkLst>
        </pc:spChg>
        <pc:spChg chg="add del mod">
          <ac:chgData name="Jacobo Domenech Agustin" userId="61653385-aed2-4090-aacd-8680af36a6e0" providerId="ADAL" clId="{E8696C2D-FC87-47CC-A9AD-4DDD29F13C82}" dt="2025-09-25T14:08:15.873" v="1893" actId="478"/>
          <ac:spMkLst>
            <pc:docMk/>
            <pc:sldMk cId="990278712" sldId="1881838667"/>
            <ac:spMk id="13" creationId="{BCF199E4-F735-4538-E144-CB56F8D63C2A}"/>
          </ac:spMkLst>
        </pc:spChg>
        <pc:spChg chg="mod">
          <ac:chgData name="Jacobo Domenech Agustin" userId="61653385-aed2-4090-aacd-8680af36a6e0" providerId="ADAL" clId="{E8696C2D-FC87-47CC-A9AD-4DDD29F13C82}" dt="2025-09-25T14:15:25.918" v="2468" actId="164"/>
          <ac:spMkLst>
            <pc:docMk/>
            <pc:sldMk cId="990278712" sldId="1881838667"/>
            <ac:spMk id="14" creationId="{5F867287-A716-C2C4-2E73-A71C74506AEE}"/>
          </ac:spMkLst>
        </pc:spChg>
        <pc:spChg chg="del mod">
          <ac:chgData name="Jacobo Domenech Agustin" userId="61653385-aed2-4090-aacd-8680af36a6e0" providerId="ADAL" clId="{E8696C2D-FC87-47CC-A9AD-4DDD29F13C82}" dt="2025-09-25T14:08:27.518" v="1898" actId="478"/>
          <ac:spMkLst>
            <pc:docMk/>
            <pc:sldMk cId="990278712" sldId="1881838667"/>
            <ac:spMk id="16" creationId="{1CD92103-C3CA-2591-9E16-2BBA76FCACFC}"/>
          </ac:spMkLst>
        </pc:spChg>
        <pc:spChg chg="add del mod">
          <ac:chgData name="Jacobo Domenech Agustin" userId="61653385-aed2-4090-aacd-8680af36a6e0" providerId="ADAL" clId="{E8696C2D-FC87-47CC-A9AD-4DDD29F13C82}" dt="2025-09-25T14:08:29.086" v="1899" actId="478"/>
          <ac:spMkLst>
            <pc:docMk/>
            <pc:sldMk cId="990278712" sldId="1881838667"/>
            <ac:spMk id="17" creationId="{4DB0538E-E44F-FE12-3C8C-BD55FCF0E7A3}"/>
          </ac:spMkLst>
        </pc:spChg>
        <pc:spChg chg="del mod">
          <ac:chgData name="Jacobo Domenech Agustin" userId="61653385-aed2-4090-aacd-8680af36a6e0" providerId="ADAL" clId="{E8696C2D-FC87-47CC-A9AD-4DDD29F13C82}" dt="2025-09-25T14:08:23.702" v="1896" actId="478"/>
          <ac:spMkLst>
            <pc:docMk/>
            <pc:sldMk cId="990278712" sldId="1881838667"/>
            <ac:spMk id="18" creationId="{D43CC8B2-D986-F795-F4AE-802B9D5AAD5A}"/>
          </ac:spMkLst>
        </pc:spChg>
        <pc:spChg chg="del mod">
          <ac:chgData name="Jacobo Domenech Agustin" userId="61653385-aed2-4090-aacd-8680af36a6e0" providerId="ADAL" clId="{E8696C2D-FC87-47CC-A9AD-4DDD29F13C82}" dt="2025-09-25T14:08:25.417" v="1897" actId="478"/>
          <ac:spMkLst>
            <pc:docMk/>
            <pc:sldMk cId="990278712" sldId="1881838667"/>
            <ac:spMk id="19" creationId="{A2C5B18C-6F30-D66A-65AF-F0C56BCF3160}"/>
          </ac:spMkLst>
        </pc:spChg>
        <pc:spChg chg="add del mod">
          <ac:chgData name="Jacobo Domenech Agustin" userId="61653385-aed2-4090-aacd-8680af36a6e0" providerId="ADAL" clId="{E8696C2D-FC87-47CC-A9AD-4DDD29F13C82}" dt="2025-09-25T14:13:45.078" v="2161" actId="21"/>
          <ac:spMkLst>
            <pc:docMk/>
            <pc:sldMk cId="990278712" sldId="1881838667"/>
            <ac:spMk id="20" creationId="{C5A0BA4F-3D2D-9E26-A3EF-0BA1FB994E63}"/>
          </ac:spMkLst>
        </pc:spChg>
        <pc:spChg chg="del">
          <ac:chgData name="Jacobo Domenech Agustin" userId="61653385-aed2-4090-aacd-8680af36a6e0" providerId="ADAL" clId="{E8696C2D-FC87-47CC-A9AD-4DDD29F13C82}" dt="2025-09-25T13:52:21.235" v="1081" actId="478"/>
          <ac:spMkLst>
            <pc:docMk/>
            <pc:sldMk cId="990278712" sldId="1881838667"/>
            <ac:spMk id="21" creationId="{B1EA200C-2035-C519-5548-31A1AB162294}"/>
          </ac:spMkLst>
        </pc:spChg>
        <pc:spChg chg="add del mod">
          <ac:chgData name="Jacobo Domenech Agustin" userId="61653385-aed2-4090-aacd-8680af36a6e0" providerId="ADAL" clId="{E8696C2D-FC87-47CC-A9AD-4DDD29F13C82}" dt="2025-09-25T14:14:53.748" v="2462" actId="478"/>
          <ac:spMkLst>
            <pc:docMk/>
            <pc:sldMk cId="990278712" sldId="1881838667"/>
            <ac:spMk id="22" creationId="{DD6BBF68-DDF4-E3DD-0C0D-24EB4DB1677B}"/>
          </ac:spMkLst>
        </pc:spChg>
        <pc:spChg chg="add del mod">
          <ac:chgData name="Jacobo Domenech Agustin" userId="61653385-aed2-4090-aacd-8680af36a6e0" providerId="ADAL" clId="{E8696C2D-FC87-47CC-A9AD-4DDD29F13C82}" dt="2025-09-25T14:14:49.462" v="2460" actId="478"/>
          <ac:spMkLst>
            <pc:docMk/>
            <pc:sldMk cId="990278712" sldId="1881838667"/>
            <ac:spMk id="23" creationId="{F12D09EB-5BF4-E445-CA5F-46E41DB36B62}"/>
          </ac:spMkLst>
        </pc:spChg>
        <pc:spChg chg="add del mod">
          <ac:chgData name="Jacobo Domenech Agustin" userId="61653385-aed2-4090-aacd-8680af36a6e0" providerId="ADAL" clId="{E8696C2D-FC87-47CC-A9AD-4DDD29F13C82}" dt="2025-09-25T14:08:19.129" v="1895" actId="478"/>
          <ac:spMkLst>
            <pc:docMk/>
            <pc:sldMk cId="990278712" sldId="1881838667"/>
            <ac:spMk id="24" creationId="{ED080F90-3C8E-8E2C-223F-C8072CE7B9C9}"/>
          </ac:spMkLst>
        </pc:spChg>
        <pc:spChg chg="add mod">
          <ac:chgData name="Jacobo Domenech Agustin" userId="61653385-aed2-4090-aacd-8680af36a6e0" providerId="ADAL" clId="{E8696C2D-FC87-47CC-A9AD-4DDD29F13C82}" dt="2025-09-25T14:15:11.004" v="2466" actId="164"/>
          <ac:spMkLst>
            <pc:docMk/>
            <pc:sldMk cId="990278712" sldId="1881838667"/>
            <ac:spMk id="35" creationId="{771A46BF-771B-E766-B521-2ED99D50687D}"/>
          </ac:spMkLst>
        </pc:spChg>
        <pc:spChg chg="add mod">
          <ac:chgData name="Jacobo Domenech Agustin" userId="61653385-aed2-4090-aacd-8680af36a6e0" providerId="ADAL" clId="{E8696C2D-FC87-47CC-A9AD-4DDD29F13C82}" dt="2025-09-25T14:15:11.004" v="2466" actId="164"/>
          <ac:spMkLst>
            <pc:docMk/>
            <pc:sldMk cId="990278712" sldId="1881838667"/>
            <ac:spMk id="36" creationId="{FFC866F2-04DE-9087-C9FC-01ACF30FFDE8}"/>
          </ac:spMkLst>
        </pc:spChg>
        <pc:spChg chg="add del mod">
          <ac:chgData name="Jacobo Domenech Agustin" userId="61653385-aed2-4090-aacd-8680af36a6e0" providerId="ADAL" clId="{E8696C2D-FC87-47CC-A9AD-4DDD29F13C82}" dt="2025-09-25T14:15:00.703" v="2464" actId="478"/>
          <ac:spMkLst>
            <pc:docMk/>
            <pc:sldMk cId="990278712" sldId="1881838667"/>
            <ac:spMk id="37" creationId="{C5A0BA4F-3D2D-9E26-A3EF-0BA1FB994E63}"/>
          </ac:spMkLst>
        </pc:spChg>
        <pc:grpChg chg="add mod">
          <ac:chgData name="Jacobo Domenech Agustin" userId="61653385-aed2-4090-aacd-8680af36a6e0" providerId="ADAL" clId="{E8696C2D-FC87-47CC-A9AD-4DDD29F13C82}" dt="2025-09-25T14:16:04.740" v="2509" actId="1038"/>
          <ac:grpSpMkLst>
            <pc:docMk/>
            <pc:sldMk cId="990278712" sldId="1881838667"/>
            <ac:grpSpMk id="39" creationId="{B5BEE85C-CEC5-AEB2-B6AD-393FAA4CF9D4}"/>
          </ac:grpSpMkLst>
        </pc:grpChg>
        <pc:grpChg chg="add mod">
          <ac:chgData name="Jacobo Domenech Agustin" userId="61653385-aed2-4090-aacd-8680af36a6e0" providerId="ADAL" clId="{E8696C2D-FC87-47CC-A9AD-4DDD29F13C82}" dt="2025-09-25T14:17:15.093" v="2525" actId="1035"/>
          <ac:grpSpMkLst>
            <pc:docMk/>
            <pc:sldMk cId="990278712" sldId="1881838667"/>
            <ac:grpSpMk id="40" creationId="{DA87BE7B-DEBA-7634-0E6D-25BF2FE5047E}"/>
          </ac:grpSpMkLst>
        </pc:grpChg>
        <pc:grpChg chg="add mod">
          <ac:chgData name="Jacobo Domenech Agustin" userId="61653385-aed2-4090-aacd-8680af36a6e0" providerId="ADAL" clId="{E8696C2D-FC87-47CC-A9AD-4DDD29F13C82}" dt="2025-09-25T14:16:04.740" v="2509" actId="1038"/>
          <ac:grpSpMkLst>
            <pc:docMk/>
            <pc:sldMk cId="990278712" sldId="1881838667"/>
            <ac:grpSpMk id="41" creationId="{A6C41ABD-1C7C-F5F6-B203-1648EAD371D8}"/>
          </ac:grpSpMkLst>
        </pc:grpChg>
        <pc:picChg chg="add mod modCrop">
          <ac:chgData name="Jacobo Domenech Agustin" userId="61653385-aed2-4090-aacd-8680af36a6e0" providerId="ADAL" clId="{E8696C2D-FC87-47CC-A9AD-4DDD29F13C82}" dt="2025-09-25T14:15:44.824" v="2471" actId="14100"/>
          <ac:picMkLst>
            <pc:docMk/>
            <pc:sldMk cId="990278712" sldId="1881838667"/>
            <ac:picMk id="30" creationId="{71D4B738-78DF-05E2-1890-0033971E5C8C}"/>
          </ac:picMkLst>
        </pc:picChg>
        <pc:picChg chg="add mod">
          <ac:chgData name="Jacobo Domenech Agustin" userId="61653385-aed2-4090-aacd-8680af36a6e0" providerId="ADAL" clId="{E8696C2D-FC87-47CC-A9AD-4DDD29F13C82}" dt="2025-09-25T14:14:14.489" v="2280" actId="1076"/>
          <ac:picMkLst>
            <pc:docMk/>
            <pc:sldMk cId="990278712" sldId="1881838667"/>
            <ac:picMk id="32" creationId="{A9F5DDB5-2D9B-B345-4CB9-FAAA5D294954}"/>
          </ac:picMkLst>
        </pc:picChg>
        <pc:picChg chg="add mod">
          <ac:chgData name="Jacobo Domenech Agustin" userId="61653385-aed2-4090-aacd-8680af36a6e0" providerId="ADAL" clId="{E8696C2D-FC87-47CC-A9AD-4DDD29F13C82}" dt="2025-09-25T14:14:19.880" v="2281" actId="1076"/>
          <ac:picMkLst>
            <pc:docMk/>
            <pc:sldMk cId="990278712" sldId="1881838667"/>
            <ac:picMk id="34" creationId="{EEEF5BC5-0E45-7CE5-13D9-154259DB2833}"/>
          </ac:picMkLst>
        </pc:picChg>
        <pc:cxnChg chg="del">
          <ac:chgData name="Jacobo Domenech Agustin" userId="61653385-aed2-4090-aacd-8680af36a6e0" providerId="ADAL" clId="{E8696C2D-FC87-47CC-A9AD-4DDD29F13C82}" dt="2025-09-25T14:11:08.806" v="1973" actId="478"/>
          <ac:cxnSpMkLst>
            <pc:docMk/>
            <pc:sldMk cId="990278712" sldId="1881838667"/>
            <ac:cxnSpMk id="15" creationId="{BE5BC599-D76C-8313-C587-946CDE6EAF17}"/>
          </ac:cxnSpMkLst>
        </pc:cxnChg>
        <pc:cxnChg chg="del mod">
          <ac:chgData name="Jacobo Domenech Agustin" userId="61653385-aed2-4090-aacd-8680af36a6e0" providerId="ADAL" clId="{E8696C2D-FC87-47CC-A9AD-4DDD29F13C82}" dt="2025-09-25T14:13:45.078" v="2161" actId="21"/>
          <ac:cxnSpMkLst>
            <pc:docMk/>
            <pc:sldMk cId="990278712" sldId="1881838667"/>
            <ac:cxnSpMk id="25" creationId="{507AA0D0-B3E3-AFD8-C8B1-3CB9DB815E33}"/>
          </ac:cxnSpMkLst>
        </pc:cxnChg>
        <pc:cxnChg chg="del mod">
          <ac:chgData name="Jacobo Domenech Agustin" userId="61653385-aed2-4090-aacd-8680af36a6e0" providerId="ADAL" clId="{E8696C2D-FC87-47CC-A9AD-4DDD29F13C82}" dt="2025-09-25T14:14:54.879" v="2463" actId="478"/>
          <ac:cxnSpMkLst>
            <pc:docMk/>
            <pc:sldMk cId="990278712" sldId="1881838667"/>
            <ac:cxnSpMk id="26" creationId="{AC04FABC-AD89-B227-8550-EBDAA4699082}"/>
          </ac:cxnSpMkLst>
        </pc:cxnChg>
        <pc:cxnChg chg="del mod">
          <ac:chgData name="Jacobo Domenech Agustin" userId="61653385-aed2-4090-aacd-8680af36a6e0" providerId="ADAL" clId="{E8696C2D-FC87-47CC-A9AD-4DDD29F13C82}" dt="2025-09-25T14:14:50.988" v="2461" actId="478"/>
          <ac:cxnSpMkLst>
            <pc:docMk/>
            <pc:sldMk cId="990278712" sldId="1881838667"/>
            <ac:cxnSpMk id="27" creationId="{57A22652-73BB-9A0E-621F-2692CE6699A1}"/>
          </ac:cxnSpMkLst>
        </pc:cxnChg>
        <pc:cxnChg chg="del mod">
          <ac:chgData name="Jacobo Domenech Agustin" userId="61653385-aed2-4090-aacd-8680af36a6e0" providerId="ADAL" clId="{E8696C2D-FC87-47CC-A9AD-4DDD29F13C82}" dt="2025-09-25T14:08:16.747" v="1894" actId="478"/>
          <ac:cxnSpMkLst>
            <pc:docMk/>
            <pc:sldMk cId="990278712" sldId="1881838667"/>
            <ac:cxnSpMk id="28" creationId="{4C8155CF-BA53-D717-C988-2F61791AF73D}"/>
          </ac:cxnSpMkLst>
        </pc:cxnChg>
        <pc:cxnChg chg="add del mod">
          <ac:chgData name="Jacobo Domenech Agustin" userId="61653385-aed2-4090-aacd-8680af36a6e0" providerId="ADAL" clId="{E8696C2D-FC87-47CC-A9AD-4DDD29F13C82}" dt="2025-09-25T14:15:01.682" v="2465" actId="478"/>
          <ac:cxnSpMkLst>
            <pc:docMk/>
            <pc:sldMk cId="990278712" sldId="1881838667"/>
            <ac:cxnSpMk id="38" creationId="{507AA0D0-B3E3-AFD8-C8B1-3CB9DB815E33}"/>
          </ac:cxnSpMkLst>
        </pc:cxnChg>
        <pc:cxnChg chg="add mod">
          <ac:chgData name="Jacobo Domenech Agustin" userId="61653385-aed2-4090-aacd-8680af36a6e0" providerId="ADAL" clId="{E8696C2D-FC87-47CC-A9AD-4DDD29F13C82}" dt="2025-09-25T14:17:31.344" v="2528" actId="1076"/>
          <ac:cxnSpMkLst>
            <pc:docMk/>
            <pc:sldMk cId="990278712" sldId="1881838667"/>
            <ac:cxnSpMk id="43" creationId="{089C56DA-17E7-89C7-1F32-03E6F095E76C}"/>
          </ac:cxnSpMkLst>
        </pc:cxnChg>
        <pc:cxnChg chg="add mod">
          <ac:chgData name="Jacobo Domenech Agustin" userId="61653385-aed2-4090-aacd-8680af36a6e0" providerId="ADAL" clId="{E8696C2D-FC87-47CC-A9AD-4DDD29F13C82}" dt="2025-09-25T14:17:19.995" v="2526" actId="14100"/>
          <ac:cxnSpMkLst>
            <pc:docMk/>
            <pc:sldMk cId="990278712" sldId="1881838667"/>
            <ac:cxnSpMk id="47" creationId="{FDD04945-D6EE-408F-C129-C498D292B919}"/>
          </ac:cxnSpMkLst>
        </pc:cxnChg>
        <pc:cxnChg chg="add mod">
          <ac:chgData name="Jacobo Domenech Agustin" userId="61653385-aed2-4090-aacd-8680af36a6e0" providerId="ADAL" clId="{E8696C2D-FC87-47CC-A9AD-4DDD29F13C82}" dt="2025-09-25T14:17:45.465" v="2532" actId="14100"/>
          <ac:cxnSpMkLst>
            <pc:docMk/>
            <pc:sldMk cId="990278712" sldId="1881838667"/>
            <ac:cxnSpMk id="50" creationId="{747B78D0-F18C-0E35-A5DE-28E79E49BF7A}"/>
          </ac:cxnSpMkLst>
        </pc:cxnChg>
      </pc:sldChg>
      <pc:sldChg chg="addSp delSp modSp add del mod">
        <pc:chgData name="Jacobo Domenech Agustin" userId="61653385-aed2-4090-aacd-8680af36a6e0" providerId="ADAL" clId="{E8696C2D-FC87-47CC-A9AD-4DDD29F13C82}" dt="2025-09-25T14:43:57.467" v="2581"/>
        <pc:sldMkLst>
          <pc:docMk/>
          <pc:sldMk cId="869204736" sldId="1881838668"/>
        </pc:sldMkLst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869204736" sldId="1881838668"/>
            <ac:spMk id="2" creationId="{65E2CD8B-D4F9-A2AA-B343-7842B670A3C5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869204736" sldId="1881838668"/>
            <ac:spMk id="3" creationId="{2D7F8055-B93C-F026-91C3-19FA1647F3FD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869204736" sldId="1881838668"/>
            <ac:spMk id="6" creationId="{9EE0E834-A0CC-D7B6-D43B-27E5625FCD45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869204736" sldId="1881838668"/>
            <ac:spMk id="12" creationId="{0E058923-64FF-5D4C-EA72-6E16BC3729B6}"/>
          </ac:spMkLst>
        </pc:spChg>
        <pc:spChg chg="del mod">
          <ac:chgData name="Jacobo Domenech Agustin" userId="61653385-aed2-4090-aacd-8680af36a6e0" providerId="ADAL" clId="{E8696C2D-FC87-47CC-A9AD-4DDD29F13C82}" dt="2025-09-25T14:18:03.080" v="2533" actId="478"/>
          <ac:spMkLst>
            <pc:docMk/>
            <pc:sldMk cId="869204736" sldId="1881838668"/>
            <ac:spMk id="21" creationId="{D3C6F570-89C5-B079-B2BC-A3E2A652DBB3}"/>
          </ac:spMkLst>
        </pc:spChg>
        <pc:graphicFrameChg chg="add mod">
          <ac:chgData name="Jacobo Domenech Agustin" userId="61653385-aed2-4090-aacd-8680af36a6e0" providerId="ADAL" clId="{E8696C2D-FC87-47CC-A9AD-4DDD29F13C82}" dt="2025-09-25T14:19:07.580" v="2544" actId="1076"/>
          <ac:graphicFrameMkLst>
            <pc:docMk/>
            <pc:sldMk cId="869204736" sldId="1881838668"/>
            <ac:graphicFrameMk id="4" creationId="{5A171036-8BB6-ECA0-F9F3-55FE110B4E83}"/>
          </ac:graphicFrameMkLst>
        </pc:graphicFrameChg>
        <pc:graphicFrameChg chg="add mod">
          <ac:chgData name="Jacobo Domenech Agustin" userId="61653385-aed2-4090-aacd-8680af36a6e0" providerId="ADAL" clId="{E8696C2D-FC87-47CC-A9AD-4DDD29F13C82}" dt="2025-09-25T14:43:57.467" v="2581"/>
          <ac:graphicFrameMkLst>
            <pc:docMk/>
            <pc:sldMk cId="869204736" sldId="1881838668"/>
            <ac:graphicFrameMk id="5" creationId="{E24B9E71-D60B-4096-AE6B-1AEAC2DD874C}"/>
          </ac:graphicFrameMkLst>
        </pc:graphicFrameChg>
      </pc:sldChg>
      <pc:sldChg chg="modSp add del mod">
        <pc:chgData name="Jacobo Domenech Agustin" userId="61653385-aed2-4090-aacd-8680af36a6e0" providerId="ADAL" clId="{E8696C2D-FC87-47CC-A9AD-4DDD29F13C82}" dt="2025-09-25T13:57:58.671" v="1267" actId="790"/>
        <pc:sldMkLst>
          <pc:docMk/>
          <pc:sldMk cId="3644853996" sldId="1881838669"/>
        </pc:sldMkLst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3644853996" sldId="1881838669"/>
            <ac:spMk id="4" creationId="{AC4F9229-0AD5-99BB-5CED-630287E0DCCD}"/>
          </ac:spMkLst>
        </pc:spChg>
        <pc:spChg chg="mod">
          <ac:chgData name="Jacobo Domenech Agustin" userId="61653385-aed2-4090-aacd-8680af36a6e0" providerId="ADAL" clId="{E8696C2D-FC87-47CC-A9AD-4DDD29F13C82}" dt="2025-09-25T13:57:58.671" v="1267" actId="790"/>
          <ac:spMkLst>
            <pc:docMk/>
            <pc:sldMk cId="3644853996" sldId="1881838669"/>
            <ac:spMk id="9" creationId="{64A039AC-23BD-60DD-D049-61E54FC8366F}"/>
          </ac:spMkLst>
        </pc:spChg>
      </pc:sldChg>
      <pc:sldChg chg="add del">
        <pc:chgData name="Jacobo Domenech Agustin" userId="61653385-aed2-4090-aacd-8680af36a6e0" providerId="ADAL" clId="{E8696C2D-FC87-47CC-A9AD-4DDD29F13C82}" dt="2025-09-25T13:52:23.078" v="1082" actId="47"/>
        <pc:sldMkLst>
          <pc:docMk/>
          <pc:sldMk cId="1372252109" sldId="1881838670"/>
        </pc:sldMkLst>
      </pc:sldChg>
      <pc:sldChg chg="delSp modSp add del mod">
        <pc:chgData name="Jacobo Domenech Agustin" userId="61653385-aed2-4090-aacd-8680af36a6e0" providerId="ADAL" clId="{E8696C2D-FC87-47CC-A9AD-4DDD29F13C82}" dt="2025-09-25T14:36:29.036" v="2548" actId="313"/>
        <pc:sldMkLst>
          <pc:docMk/>
          <pc:sldMk cId="3241203451" sldId="1881838670"/>
        </pc:sldMkLst>
        <pc:spChg chg="mod">
          <ac:chgData name="Jacobo Domenech Agustin" userId="61653385-aed2-4090-aacd-8680af36a6e0" providerId="ADAL" clId="{E8696C2D-FC87-47CC-A9AD-4DDD29F13C82}" dt="2025-09-25T13:58:14.830" v="1296" actId="20577"/>
          <ac:spMkLst>
            <pc:docMk/>
            <pc:sldMk cId="3241203451" sldId="1881838670"/>
            <ac:spMk id="2" creationId="{1A5F27B7-BAB9-C062-1F85-1B43A76147DA}"/>
          </ac:spMkLst>
        </pc:spChg>
        <pc:spChg chg="mod">
          <ac:chgData name="Jacobo Domenech Agustin" userId="61653385-aed2-4090-aacd-8680af36a6e0" providerId="ADAL" clId="{E8696C2D-FC87-47CC-A9AD-4DDD29F13C82}" dt="2025-09-25T14:36:29.036" v="2548" actId="313"/>
          <ac:spMkLst>
            <pc:docMk/>
            <pc:sldMk cId="3241203451" sldId="1881838670"/>
            <ac:spMk id="174" creationId="{E800A7FC-96BA-D9E4-2251-E9C129E2E1B9}"/>
          </ac:spMkLst>
        </pc:spChg>
        <pc:spChg chg="mod">
          <ac:chgData name="Jacobo Domenech Agustin" userId="61653385-aed2-4090-aacd-8680af36a6e0" providerId="ADAL" clId="{E8696C2D-FC87-47CC-A9AD-4DDD29F13C82}" dt="2025-09-25T13:58:46.621" v="1359" actId="790"/>
          <ac:spMkLst>
            <pc:docMk/>
            <pc:sldMk cId="3241203451" sldId="1881838670"/>
            <ac:spMk id="175" creationId="{B2D0B614-4284-FF18-A4D1-1F5587E7F045}"/>
          </ac:spMkLst>
        </pc:spChg>
        <pc:spChg chg="del mod">
          <ac:chgData name="Jacobo Domenech Agustin" userId="61653385-aed2-4090-aacd-8680af36a6e0" providerId="ADAL" clId="{E8696C2D-FC87-47CC-A9AD-4DDD29F13C82}" dt="2025-09-25T14:02:27.094" v="1605" actId="478"/>
          <ac:spMkLst>
            <pc:docMk/>
            <pc:sldMk cId="3241203451" sldId="1881838670"/>
            <ac:spMk id="176" creationId="{F0AE27FE-C817-222E-D51A-CB28107AEC9A}"/>
          </ac:spMkLst>
        </pc:spChg>
        <pc:spChg chg="mod">
          <ac:chgData name="Jacobo Domenech Agustin" userId="61653385-aed2-4090-aacd-8680af36a6e0" providerId="ADAL" clId="{E8696C2D-FC87-47CC-A9AD-4DDD29F13C82}" dt="2025-09-25T13:59:40.900" v="1380" actId="790"/>
          <ac:spMkLst>
            <pc:docMk/>
            <pc:sldMk cId="3241203451" sldId="1881838670"/>
            <ac:spMk id="177" creationId="{79B7B115-9C5C-54CD-3259-1154BCC34E9B}"/>
          </ac:spMkLst>
        </pc:spChg>
        <pc:spChg chg="mod">
          <ac:chgData name="Jacobo Domenech Agustin" userId="61653385-aed2-4090-aacd-8680af36a6e0" providerId="ADAL" clId="{E8696C2D-FC87-47CC-A9AD-4DDD29F13C82}" dt="2025-09-25T14:00:58.180" v="1520" actId="20577"/>
          <ac:spMkLst>
            <pc:docMk/>
            <pc:sldMk cId="3241203451" sldId="1881838670"/>
            <ac:spMk id="178" creationId="{90292111-B3E7-C27E-9851-6347A20AC318}"/>
          </ac:spMkLst>
        </pc:spChg>
        <pc:spChg chg="mod">
          <ac:chgData name="Jacobo Domenech Agustin" userId="61653385-aed2-4090-aacd-8680af36a6e0" providerId="ADAL" clId="{E8696C2D-FC87-47CC-A9AD-4DDD29F13C82}" dt="2025-09-25T13:58:56.263" v="1361" actId="313"/>
          <ac:spMkLst>
            <pc:docMk/>
            <pc:sldMk cId="3241203451" sldId="1881838670"/>
            <ac:spMk id="182" creationId="{E862B1F5-CA83-1261-FEA6-BDC5CCBD5D00}"/>
          </ac:spMkLst>
        </pc:spChg>
        <pc:spChg chg="del">
          <ac:chgData name="Jacobo Domenech Agustin" userId="61653385-aed2-4090-aacd-8680af36a6e0" providerId="ADAL" clId="{E8696C2D-FC87-47CC-A9AD-4DDD29F13C82}" dt="2025-09-25T14:02:29.149" v="1607" actId="478"/>
          <ac:spMkLst>
            <pc:docMk/>
            <pc:sldMk cId="3241203451" sldId="1881838670"/>
            <ac:spMk id="183" creationId="{014EBEE5-2C67-7E51-918C-AC7E2FD2247E}"/>
          </ac:spMkLst>
        </pc:spChg>
        <pc:spChg chg="mod">
          <ac:chgData name="Jacobo Domenech Agustin" userId="61653385-aed2-4090-aacd-8680af36a6e0" providerId="ADAL" clId="{E8696C2D-FC87-47CC-A9AD-4DDD29F13C82}" dt="2025-09-25T14:00:43.515" v="1495" actId="790"/>
          <ac:spMkLst>
            <pc:docMk/>
            <pc:sldMk cId="3241203451" sldId="1881838670"/>
            <ac:spMk id="184" creationId="{6069046D-AAAF-8BDB-A1B5-DBC5193E27DF}"/>
          </ac:spMkLst>
        </pc:spChg>
        <pc:spChg chg="mod">
          <ac:chgData name="Jacobo Domenech Agustin" userId="61653385-aed2-4090-aacd-8680af36a6e0" providerId="ADAL" clId="{E8696C2D-FC87-47CC-A9AD-4DDD29F13C82}" dt="2025-09-25T14:01:28.813" v="1589" actId="790"/>
          <ac:spMkLst>
            <pc:docMk/>
            <pc:sldMk cId="3241203451" sldId="1881838670"/>
            <ac:spMk id="185" creationId="{D7D879B9-212A-31A6-E47A-EEEAD5BC63B5}"/>
          </ac:spMkLst>
        </pc:spChg>
        <pc:spChg chg="mod">
          <ac:chgData name="Jacobo Domenech Agustin" userId="61653385-aed2-4090-aacd-8680af36a6e0" providerId="ADAL" clId="{E8696C2D-FC87-47CC-A9AD-4DDD29F13C82}" dt="2025-09-25T13:58:46.621" v="1359" actId="790"/>
          <ac:spMkLst>
            <pc:docMk/>
            <pc:sldMk cId="3241203451" sldId="1881838670"/>
            <ac:spMk id="193" creationId="{C7C870C2-088C-3DFB-2A57-40091B7BBA82}"/>
          </ac:spMkLst>
        </pc:spChg>
        <pc:spChg chg="mod">
          <ac:chgData name="Jacobo Domenech Agustin" userId="61653385-aed2-4090-aacd-8680af36a6e0" providerId="ADAL" clId="{E8696C2D-FC87-47CC-A9AD-4DDD29F13C82}" dt="2025-09-25T13:58:46.621" v="1359" actId="790"/>
          <ac:spMkLst>
            <pc:docMk/>
            <pc:sldMk cId="3241203451" sldId="1881838670"/>
            <ac:spMk id="194" creationId="{88E50D59-E8B5-26E2-BA82-3F0FA22A79C9}"/>
          </ac:spMkLst>
        </pc:spChg>
        <pc:spChg chg="mod">
          <ac:chgData name="Jacobo Domenech Agustin" userId="61653385-aed2-4090-aacd-8680af36a6e0" providerId="ADAL" clId="{E8696C2D-FC87-47CC-A9AD-4DDD29F13C82}" dt="2025-09-25T13:58:46.621" v="1359" actId="790"/>
          <ac:spMkLst>
            <pc:docMk/>
            <pc:sldMk cId="3241203451" sldId="1881838670"/>
            <ac:spMk id="202" creationId="{1E37E274-1586-A2B2-5A38-E287A9482B66}"/>
          </ac:spMkLst>
        </pc:spChg>
        <pc:spChg chg="mod">
          <ac:chgData name="Jacobo Domenech Agustin" userId="61653385-aed2-4090-aacd-8680af36a6e0" providerId="ADAL" clId="{E8696C2D-FC87-47CC-A9AD-4DDD29F13C82}" dt="2025-09-25T14:02:37.723" v="1657" actId="1038"/>
          <ac:spMkLst>
            <pc:docMk/>
            <pc:sldMk cId="3241203451" sldId="1881838670"/>
            <ac:spMk id="209" creationId="{58AC1EEB-47D5-0CFD-F0D5-009505950A9B}"/>
          </ac:spMkLst>
        </pc:spChg>
        <pc:spChg chg="mod">
          <ac:chgData name="Jacobo Domenech Agustin" userId="61653385-aed2-4090-aacd-8680af36a6e0" providerId="ADAL" clId="{E8696C2D-FC87-47CC-A9AD-4DDD29F13C82}" dt="2025-09-25T14:02:37.723" v="1657" actId="1038"/>
          <ac:spMkLst>
            <pc:docMk/>
            <pc:sldMk cId="3241203451" sldId="1881838670"/>
            <ac:spMk id="215" creationId="{DE2952EE-BFFA-D7E5-A8FA-95E69B424837}"/>
          </ac:spMkLst>
        </pc:spChg>
        <pc:spChg chg="mod">
          <ac:chgData name="Jacobo Domenech Agustin" userId="61653385-aed2-4090-aacd-8680af36a6e0" providerId="ADAL" clId="{E8696C2D-FC87-47CC-A9AD-4DDD29F13C82}" dt="2025-09-25T14:02:37.723" v="1657" actId="1038"/>
          <ac:spMkLst>
            <pc:docMk/>
            <pc:sldMk cId="3241203451" sldId="1881838670"/>
            <ac:spMk id="220" creationId="{831609D9-82B0-BC27-02F2-38A5DF7C1D05}"/>
          </ac:spMkLst>
        </pc:spChg>
        <pc:spChg chg="mod">
          <ac:chgData name="Jacobo Domenech Agustin" userId="61653385-aed2-4090-aacd-8680af36a6e0" providerId="ADAL" clId="{E8696C2D-FC87-47CC-A9AD-4DDD29F13C82}" dt="2025-09-25T14:02:37.723" v="1657" actId="1038"/>
          <ac:spMkLst>
            <pc:docMk/>
            <pc:sldMk cId="3241203451" sldId="1881838670"/>
            <ac:spMk id="221" creationId="{E0337A6B-8079-DB1A-35D3-8616E79CD490}"/>
          </ac:spMkLst>
        </pc:spChg>
        <pc:spChg chg="mod">
          <ac:chgData name="Jacobo Domenech Agustin" userId="61653385-aed2-4090-aacd-8680af36a6e0" providerId="ADAL" clId="{E8696C2D-FC87-47CC-A9AD-4DDD29F13C82}" dt="2025-09-25T13:58:46.621" v="1359" actId="790"/>
          <ac:spMkLst>
            <pc:docMk/>
            <pc:sldMk cId="3241203451" sldId="1881838670"/>
            <ac:spMk id="222" creationId="{148F7ABB-1D41-5745-79A0-AEDB0FFCFF39}"/>
          </ac:spMkLst>
        </pc:spChg>
        <pc:spChg chg="mod">
          <ac:chgData name="Jacobo Domenech Agustin" userId="61653385-aed2-4090-aacd-8680af36a6e0" providerId="ADAL" clId="{E8696C2D-FC87-47CC-A9AD-4DDD29F13C82}" dt="2025-09-25T13:58:46.621" v="1359" actId="790"/>
          <ac:spMkLst>
            <pc:docMk/>
            <pc:sldMk cId="3241203451" sldId="1881838670"/>
            <ac:spMk id="232" creationId="{43A7DD13-3AA6-AC58-BDDB-DF81AA9B3CAF}"/>
          </ac:spMkLst>
        </pc:spChg>
        <pc:spChg chg="mod">
          <ac:chgData name="Jacobo Domenech Agustin" userId="61653385-aed2-4090-aacd-8680af36a6e0" providerId="ADAL" clId="{E8696C2D-FC87-47CC-A9AD-4DDD29F13C82}" dt="2025-09-25T13:58:46.621" v="1359" actId="790"/>
          <ac:spMkLst>
            <pc:docMk/>
            <pc:sldMk cId="3241203451" sldId="1881838670"/>
            <ac:spMk id="235" creationId="{A5FDD9F9-0257-2C44-34AD-05A5094780ED}"/>
          </ac:spMkLst>
        </pc:spChg>
        <pc:spChg chg="mod">
          <ac:chgData name="Jacobo Domenech Agustin" userId="61653385-aed2-4090-aacd-8680af36a6e0" providerId="ADAL" clId="{E8696C2D-FC87-47CC-A9AD-4DDD29F13C82}" dt="2025-09-25T13:58:46.621" v="1359" actId="790"/>
          <ac:spMkLst>
            <pc:docMk/>
            <pc:sldMk cId="3241203451" sldId="1881838670"/>
            <ac:spMk id="238" creationId="{F17F07B4-5432-AB13-907F-A35ED1757CA5}"/>
          </ac:spMkLst>
        </pc:spChg>
        <pc:spChg chg="mod">
          <ac:chgData name="Jacobo Domenech Agustin" userId="61653385-aed2-4090-aacd-8680af36a6e0" providerId="ADAL" clId="{E8696C2D-FC87-47CC-A9AD-4DDD29F13C82}" dt="2025-09-25T14:02:37.723" v="1657" actId="1038"/>
          <ac:spMkLst>
            <pc:docMk/>
            <pc:sldMk cId="3241203451" sldId="1881838670"/>
            <ac:spMk id="256" creationId="{CC1E0F1E-B405-3016-2932-4EC1B573D523}"/>
          </ac:spMkLst>
        </pc:spChg>
        <pc:spChg chg="mod">
          <ac:chgData name="Jacobo Domenech Agustin" userId="61653385-aed2-4090-aacd-8680af36a6e0" providerId="ADAL" clId="{E8696C2D-FC87-47CC-A9AD-4DDD29F13C82}" dt="2025-09-25T14:02:37.723" v="1657" actId="1038"/>
          <ac:spMkLst>
            <pc:docMk/>
            <pc:sldMk cId="3241203451" sldId="1881838670"/>
            <ac:spMk id="262" creationId="{58CE59EC-87F2-0013-B2F2-F00B67C019E7}"/>
          </ac:spMkLst>
        </pc:spChg>
        <pc:spChg chg="mod">
          <ac:chgData name="Jacobo Domenech Agustin" userId="61653385-aed2-4090-aacd-8680af36a6e0" providerId="ADAL" clId="{E8696C2D-FC87-47CC-A9AD-4DDD29F13C82}" dt="2025-09-25T14:02:37.723" v="1657" actId="1038"/>
          <ac:spMkLst>
            <pc:docMk/>
            <pc:sldMk cId="3241203451" sldId="1881838670"/>
            <ac:spMk id="264" creationId="{28930870-C8D1-8B0F-8FEA-1AFAEF778045}"/>
          </ac:spMkLst>
        </pc:spChg>
        <pc:spChg chg="mod">
          <ac:chgData name="Jacobo Domenech Agustin" userId="61653385-aed2-4090-aacd-8680af36a6e0" providerId="ADAL" clId="{E8696C2D-FC87-47CC-A9AD-4DDD29F13C82}" dt="2025-09-25T14:02:37.723" v="1657" actId="1038"/>
          <ac:spMkLst>
            <pc:docMk/>
            <pc:sldMk cId="3241203451" sldId="1881838670"/>
            <ac:spMk id="287" creationId="{8C798CC6-45A0-1CE8-ABCB-A098D189BEE7}"/>
          </ac:spMkLst>
        </pc:spChg>
        <pc:spChg chg="mod">
          <ac:chgData name="Jacobo Domenech Agustin" userId="61653385-aed2-4090-aacd-8680af36a6e0" providerId="ADAL" clId="{E8696C2D-FC87-47CC-A9AD-4DDD29F13C82}" dt="2025-09-25T14:02:37.723" v="1657" actId="1038"/>
          <ac:spMkLst>
            <pc:docMk/>
            <pc:sldMk cId="3241203451" sldId="1881838670"/>
            <ac:spMk id="288" creationId="{32696EED-47F3-7D0A-17A9-6EC55795CD95}"/>
          </ac:spMkLst>
        </pc:spChg>
        <pc:spChg chg="mod">
          <ac:chgData name="Jacobo Domenech Agustin" userId="61653385-aed2-4090-aacd-8680af36a6e0" providerId="ADAL" clId="{E8696C2D-FC87-47CC-A9AD-4DDD29F13C82}" dt="2025-09-25T14:02:37.723" v="1657" actId="1038"/>
          <ac:spMkLst>
            <pc:docMk/>
            <pc:sldMk cId="3241203451" sldId="1881838670"/>
            <ac:spMk id="290" creationId="{A05595D9-3CE9-DC29-74E1-38B8721802AA}"/>
          </ac:spMkLst>
        </pc:spChg>
        <pc:spChg chg="mod">
          <ac:chgData name="Jacobo Domenech Agustin" userId="61653385-aed2-4090-aacd-8680af36a6e0" providerId="ADAL" clId="{E8696C2D-FC87-47CC-A9AD-4DDD29F13C82}" dt="2025-09-25T13:58:46.621" v="1359" actId="790"/>
          <ac:spMkLst>
            <pc:docMk/>
            <pc:sldMk cId="3241203451" sldId="1881838670"/>
            <ac:spMk id="298" creationId="{9F81DC60-FF8E-8742-0AD1-02FA016C5ED9}"/>
          </ac:spMkLst>
        </pc:spChg>
        <pc:grpChg chg="del">
          <ac:chgData name="Jacobo Domenech Agustin" userId="61653385-aed2-4090-aacd-8680af36a6e0" providerId="ADAL" clId="{E8696C2D-FC87-47CC-A9AD-4DDD29F13C82}" dt="2025-09-25T14:02:28.151" v="1606" actId="478"/>
          <ac:grpSpMkLst>
            <pc:docMk/>
            <pc:sldMk cId="3241203451" sldId="1881838670"/>
            <ac:grpSpMk id="186" creationId="{993A5397-3958-14C1-CEBB-C44A7C14BEE2}"/>
          </ac:grpSpMkLst>
        </pc:grpChg>
      </pc:sldChg>
      <pc:sldChg chg="new">
        <pc:chgData name="Jacobo Domenech Agustin" userId="61653385-aed2-4090-aacd-8680af36a6e0" providerId="ADAL" clId="{E8696C2D-FC87-47CC-A9AD-4DDD29F13C82}" dt="2025-09-25T14:19:23.208" v="2547" actId="680"/>
        <pc:sldMkLst>
          <pc:docMk/>
          <pc:sldMk cId="3079398948" sldId="1881838671"/>
        </pc:sldMkLst>
      </pc:sldChg>
      <pc:sldChg chg="modSp new del mod">
        <pc:chgData name="Jacobo Domenech Agustin" userId="61653385-aed2-4090-aacd-8680af36a6e0" providerId="ADAL" clId="{E8696C2D-FC87-47CC-A9AD-4DDD29F13C82}" dt="2025-09-25T14:42:27.882" v="2559" actId="47"/>
        <pc:sldMkLst>
          <pc:docMk/>
          <pc:sldMk cId="3516836065" sldId="1881838677"/>
        </pc:sldMkLst>
        <pc:spChg chg="mod">
          <ac:chgData name="Jacobo Domenech Agustin" userId="61653385-aed2-4090-aacd-8680af36a6e0" providerId="ADAL" clId="{E8696C2D-FC87-47CC-A9AD-4DDD29F13C82}" dt="2025-09-25T14:42:21.459" v="2558" actId="20577"/>
          <ac:spMkLst>
            <pc:docMk/>
            <pc:sldMk cId="3516836065" sldId="1881838677"/>
            <ac:spMk id="2" creationId="{328C9DAE-4053-8923-45D9-697894C4467A}"/>
          </ac:spMkLst>
        </pc:spChg>
      </pc:sldChg>
      <pc:sldMasterChg chg="delSldLayout">
        <pc:chgData name="Jacobo Domenech Agustin" userId="61653385-aed2-4090-aacd-8680af36a6e0" providerId="ADAL" clId="{E8696C2D-FC87-47CC-A9AD-4DDD29F13C82}" dt="2025-09-25T13:55:47.255" v="1096" actId="47"/>
        <pc:sldMasterMkLst>
          <pc:docMk/>
          <pc:sldMasterMk cId="1919714218" sldId="2147483822"/>
        </pc:sldMasterMkLst>
        <pc:sldLayoutChg chg="del">
          <pc:chgData name="Jacobo Domenech Agustin" userId="61653385-aed2-4090-aacd-8680af36a6e0" providerId="ADAL" clId="{E8696C2D-FC87-47CC-A9AD-4DDD29F13C82}" dt="2025-09-25T13:55:01.776" v="1084" actId="18676"/>
          <pc:sldLayoutMkLst>
            <pc:docMk/>
            <pc:sldMasterMk cId="1919714218" sldId="2147483822"/>
            <pc:sldLayoutMk cId="4282755950" sldId="2147484114"/>
          </pc:sldLayoutMkLst>
        </pc:sldLayoutChg>
        <pc:sldLayoutChg chg="del">
          <pc:chgData name="Jacobo Domenech Agustin" userId="61653385-aed2-4090-aacd-8680af36a6e0" providerId="ADAL" clId="{E8696C2D-FC87-47CC-A9AD-4DDD29F13C82}" dt="2025-09-25T13:55:01.776" v="1084" actId="18676"/>
          <pc:sldLayoutMkLst>
            <pc:docMk/>
            <pc:sldMasterMk cId="1919714218" sldId="2147483822"/>
            <pc:sldLayoutMk cId="1925924652" sldId="2147484116"/>
          </pc:sldLayoutMkLst>
        </pc:sldLayoutChg>
        <pc:sldLayoutChg chg="del">
          <pc:chgData name="Jacobo Domenech Agustin" userId="61653385-aed2-4090-aacd-8680af36a6e0" providerId="ADAL" clId="{E8696C2D-FC87-47CC-A9AD-4DDD29F13C82}" dt="2025-09-25T13:51:03.583" v="1077" actId="2696"/>
          <pc:sldLayoutMkLst>
            <pc:docMk/>
            <pc:sldMasterMk cId="1919714218" sldId="2147483822"/>
            <pc:sldLayoutMk cId="2860257329" sldId="2147484118"/>
          </pc:sldLayoutMkLst>
        </pc:sldLayoutChg>
        <pc:sldLayoutChg chg="del">
          <pc:chgData name="Jacobo Domenech Agustin" userId="61653385-aed2-4090-aacd-8680af36a6e0" providerId="ADAL" clId="{E8696C2D-FC87-47CC-A9AD-4DDD29F13C82}" dt="2025-09-25T13:55:47.255" v="1096" actId="47"/>
          <pc:sldLayoutMkLst>
            <pc:docMk/>
            <pc:sldMasterMk cId="1919714218" sldId="2147483822"/>
            <pc:sldLayoutMk cId="1560823044" sldId="2147484132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people.ey.com/personal/jacobo_domenech_agustin_es_ey_com/Documents/Miniproject_Band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people.ey.com/personal/jacobo_domenech_agustin_es_ey_com/Documents/Miniproject_Band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cap="all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aseline="0"/>
              <a:t>% bandas por integrantes</a:t>
            </a:r>
            <a:endParaRPr lang="en-US" sz="18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cap="all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_4'!$B$1</c:f>
              <c:strCache>
                <c:ptCount val="1"/>
                <c:pt idx="0">
                  <c:v>SUM(number_of_groups)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3CD6-4D72-87E3-A9B95313C3A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3CD6-4D72-87E3-A9B95313C3A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3CD6-4D72-87E3-A9B95313C3A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3CD6-4D72-87E3-A9B95313C3A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3CD6-4D72-87E3-A9B95313C3A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3CD6-4D72-87E3-A9B95313C3A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D-3CD6-4D72-87E3-A9B95313C3AD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ES"/>
                </a:p>
              </c:txPr>
              <c:dLblPos val="out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3CD6-4D72-87E3-A9B95313C3AD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ES"/>
                </a:p>
              </c:txPr>
              <c:dLblPos val="out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3CD6-4D72-87E3-A9B95313C3AD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ES"/>
                </a:p>
              </c:txPr>
              <c:dLblPos val="out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3CD6-4D72-87E3-A9B95313C3AD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ES"/>
                </a:p>
              </c:txPr>
              <c:dLblPos val="out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3CD6-4D72-87E3-A9B95313C3AD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ES"/>
                </a:p>
              </c:txPr>
              <c:dLblPos val="out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9-3CD6-4D72-87E3-A9B95313C3AD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ES"/>
                </a:p>
              </c:txPr>
              <c:dLblPos val="out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B-3CD6-4D72-87E3-A9B95313C3AD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chemeClr val="accent1">
                          <a:lumMod val="6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ES"/>
                </a:p>
              </c:txPr>
              <c:dLblPos val="out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D-3CD6-4D72-87E3-A9B95313C3A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spc="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_4'!$A$2:$A$8</c:f>
              <c:strCach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-10</c:v>
                </c:pt>
                <c:pt idx="6">
                  <c:v>10+</c:v>
                </c:pt>
              </c:strCache>
            </c:strRef>
          </c:cat>
          <c:val>
            <c:numRef>
              <c:f>'_4'!$B$2:$B$8</c:f>
              <c:numCache>
                <c:formatCode>General</c:formatCode>
                <c:ptCount val="7"/>
                <c:pt idx="0">
                  <c:v>1624</c:v>
                </c:pt>
                <c:pt idx="1">
                  <c:v>1123</c:v>
                </c:pt>
                <c:pt idx="2">
                  <c:v>702</c:v>
                </c:pt>
                <c:pt idx="3">
                  <c:v>475</c:v>
                </c:pt>
                <c:pt idx="4">
                  <c:v>339</c:v>
                </c:pt>
                <c:pt idx="5">
                  <c:v>462</c:v>
                </c:pt>
                <c:pt idx="6">
                  <c:v>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3CD6-4D72-87E3-A9B95313C3AD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rgbClr val="FFFFFF"/>
    </a:solidFill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cap="all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aseline="0"/>
              <a:t>Nº bandas por integrantes</a:t>
            </a:r>
            <a:endParaRPr lang="en-US" sz="18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cap="all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_4'!$A$2</c:f>
              <c:strCache>
                <c:ptCount val="1"/>
                <c:pt idx="0">
                  <c:v>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E5BA-4964-A64D-F9D4B6D3E5C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E5BA-4964-A64D-F9D4B6D3E5CE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E5BA-4964-A64D-F9D4B6D3E5C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E5BA-4964-A64D-F9D4B6D3E5CE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E5BA-4964-A64D-F9D4B6D3E5CE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E5BA-4964-A64D-F9D4B6D3E5CE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D-E5BA-4964-A64D-F9D4B6D3E5C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spc="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_4'!$B$1</c:f>
              <c:strCache>
                <c:ptCount val="1"/>
                <c:pt idx="0">
                  <c:v>SUM(number_of_groups)</c:v>
                </c:pt>
              </c:strCache>
            </c:strRef>
          </c:cat>
          <c:val>
            <c:numRef>
              <c:f>'_4'!$B$2</c:f>
              <c:numCache>
                <c:formatCode>General</c:formatCode>
                <c:ptCount val="1"/>
                <c:pt idx="0">
                  <c:v>16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E5BA-4964-A64D-F9D4B6D3E5CE}"/>
            </c:ext>
          </c:extLst>
        </c:ser>
        <c:ser>
          <c:idx val="1"/>
          <c:order val="1"/>
          <c:tx>
            <c:strRef>
              <c:f>'_4'!$A$3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spc="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_4'!$B$1</c:f>
              <c:strCache>
                <c:ptCount val="1"/>
                <c:pt idx="0">
                  <c:v>SUM(number_of_groups)</c:v>
                </c:pt>
              </c:strCache>
            </c:strRef>
          </c:cat>
          <c:val>
            <c:numRef>
              <c:f>'_4'!$B$3</c:f>
              <c:numCache>
                <c:formatCode>General</c:formatCode>
                <c:ptCount val="1"/>
                <c:pt idx="0">
                  <c:v>11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E5BA-4964-A64D-F9D4B6D3E5CE}"/>
            </c:ext>
          </c:extLst>
        </c:ser>
        <c:ser>
          <c:idx val="2"/>
          <c:order val="2"/>
          <c:tx>
            <c:strRef>
              <c:f>'_4'!$A$4</c:f>
              <c:strCache>
                <c:ptCount val="1"/>
                <c:pt idx="0">
                  <c:v>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spc="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_4'!$B$1</c:f>
              <c:strCache>
                <c:ptCount val="1"/>
                <c:pt idx="0">
                  <c:v>SUM(number_of_groups)</c:v>
                </c:pt>
              </c:strCache>
            </c:strRef>
          </c:cat>
          <c:val>
            <c:numRef>
              <c:f>'_4'!$B$4</c:f>
              <c:numCache>
                <c:formatCode>General</c:formatCode>
                <c:ptCount val="1"/>
                <c:pt idx="0">
                  <c:v>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E5BA-4964-A64D-F9D4B6D3E5CE}"/>
            </c:ext>
          </c:extLst>
        </c:ser>
        <c:ser>
          <c:idx val="3"/>
          <c:order val="3"/>
          <c:tx>
            <c:strRef>
              <c:f>'_4'!$A$5</c:f>
              <c:strCache>
                <c:ptCount val="1"/>
                <c:pt idx="0">
                  <c:v>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spc="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_4'!$B$1</c:f>
              <c:strCache>
                <c:ptCount val="1"/>
                <c:pt idx="0">
                  <c:v>SUM(number_of_groups)</c:v>
                </c:pt>
              </c:strCache>
            </c:strRef>
          </c:cat>
          <c:val>
            <c:numRef>
              <c:f>'_4'!$B$5</c:f>
              <c:numCache>
                <c:formatCode>General</c:formatCode>
                <c:ptCount val="1"/>
                <c:pt idx="0">
                  <c:v>4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E5BA-4964-A64D-F9D4B6D3E5CE}"/>
            </c:ext>
          </c:extLst>
        </c:ser>
        <c:ser>
          <c:idx val="4"/>
          <c:order val="4"/>
          <c:tx>
            <c:strRef>
              <c:f>'_4'!$A$6</c:f>
              <c:strCache>
                <c:ptCount val="1"/>
                <c:pt idx="0">
                  <c:v>5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spc="0" baseline="0">
                    <a:solidFill>
                      <a:schemeClr val="accent5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_4'!$B$1</c:f>
              <c:strCache>
                <c:ptCount val="1"/>
                <c:pt idx="0">
                  <c:v>SUM(number_of_groups)</c:v>
                </c:pt>
              </c:strCache>
            </c:strRef>
          </c:cat>
          <c:val>
            <c:numRef>
              <c:f>'_4'!$B$6</c:f>
              <c:numCache>
                <c:formatCode>General</c:formatCode>
                <c:ptCount val="1"/>
                <c:pt idx="0">
                  <c:v>3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E5BA-4964-A64D-F9D4B6D3E5CE}"/>
            </c:ext>
          </c:extLst>
        </c:ser>
        <c:ser>
          <c:idx val="5"/>
          <c:order val="5"/>
          <c:tx>
            <c:strRef>
              <c:f>'_4'!$A$7</c:f>
              <c:strCache>
                <c:ptCount val="1"/>
                <c:pt idx="0">
                  <c:v>6-10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spc="0" baseline="0">
                    <a:solidFill>
                      <a:schemeClr val="accent6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_4'!$B$1</c:f>
              <c:strCache>
                <c:ptCount val="1"/>
                <c:pt idx="0">
                  <c:v>SUM(number_of_groups)</c:v>
                </c:pt>
              </c:strCache>
            </c:strRef>
          </c:cat>
          <c:val>
            <c:numRef>
              <c:f>'_4'!$B$7</c:f>
              <c:numCache>
                <c:formatCode>General</c:formatCode>
                <c:ptCount val="1"/>
                <c:pt idx="0">
                  <c:v>4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E5BA-4964-A64D-F9D4B6D3E5CE}"/>
            </c:ext>
          </c:extLst>
        </c:ser>
        <c:ser>
          <c:idx val="6"/>
          <c:order val="6"/>
          <c:tx>
            <c:strRef>
              <c:f>'_4'!$A$8</c:f>
              <c:strCache>
                <c:ptCount val="1"/>
                <c:pt idx="0">
                  <c:v>10+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spc="0" baseline="0">
                    <a:solidFill>
                      <a:schemeClr val="accent1">
                        <a:lumMod val="6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_4'!$B$1</c:f>
              <c:strCache>
                <c:ptCount val="1"/>
                <c:pt idx="0">
                  <c:v>SUM(number_of_groups)</c:v>
                </c:pt>
              </c:strCache>
            </c:strRef>
          </c:cat>
          <c:val>
            <c:numRef>
              <c:f>'_4'!$B$8</c:f>
              <c:numCache>
                <c:formatCode>General</c:formatCode>
                <c:ptCount val="1"/>
                <c:pt idx="0">
                  <c:v>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E5BA-4964-A64D-F9D4B6D3E5C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448440784"/>
        <c:axId val="448458064"/>
      </c:barChart>
      <c:catAx>
        <c:axId val="4484407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48458064"/>
        <c:crosses val="autoZero"/>
        <c:auto val="1"/>
        <c:lblAlgn val="ctr"/>
        <c:lblOffset val="100"/>
        <c:noMultiLvlLbl val="0"/>
      </c:catAx>
      <c:valAx>
        <c:axId val="4484580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4484407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187473854060838"/>
          <c:y val="0.89955894683051962"/>
          <c:w val="0.84201977889526669"/>
          <c:h val="7.211588935998385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rgbClr val="FFFFFF"/>
    </a:solidFill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3" cy="495300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EYInterstate Light" panose="02000506000000020004" pitchFamily="2" charset="0"/>
              </a:rPr>
              <a:pPr/>
              <a:t>25/09/2025</a:t>
            </a:fld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08981"/>
            <a:ext cx="2944283" cy="49530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EYInterstate Light" panose="02000506000000020004" pitchFamily="2" charset="0"/>
              </a:rPr>
              <a:pPr/>
              <a:t>‹#›</a:t>
            </a:fld>
            <a:endParaRPr lang="en-GB"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3" cy="495300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>
                <a:latin typeface="EYInterstate Light" panose="02000506000000020004" pitchFamily="2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>
                <a:latin typeface="EYInterstate Light" panose="02000506000000020004" pitchFamily="2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25/09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2950"/>
            <a:ext cx="6607175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05351"/>
            <a:ext cx="5435600" cy="4457700"/>
          </a:xfrm>
          <a:prstGeom prst="rect">
            <a:avLst/>
          </a:prstGeom>
        </p:spPr>
        <p:txBody>
          <a:bodyPr vert="horz" lIns="92492" tIns="46246" rIns="92492" bIns="4624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08981"/>
            <a:ext cx="2944283" cy="49530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>
                <a:latin typeface="EYInterstate Light" panose="02000506000000020004" pitchFamily="2" charset="0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>
                <a:latin typeface="EYInterstate Light" panose="02000506000000020004" pitchFamily="2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20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62360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0F0447-CFB1-8215-8A4B-A53DADF631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B47A524-874F-F14A-1787-125015FDE6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19C89B2-BE33-E16B-3B6A-542851AEA3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A86889E-0FE2-C6B9-6FE3-61E61ED2D68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72091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B022E3-92D0-8D81-CC7A-EF8CC55528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9FE36BF-7647-19B1-F2E3-86A506824B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E9DA19C-0084-0DB9-F2A3-57EA98C60F9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DE9655E-568F-BE1A-9F6A-2EB11016B6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31033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6D323C-1949-F3D8-C554-1CEBC81A49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4E8DC96-ED10-87DB-18B8-89EC9FB0DC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A139F24-31AC-3250-82A2-BB4E21A2C7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3D7C3D8-2691-6F96-02F8-36EF82B14E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728307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2F850B-4E99-616A-5A9B-0BDC5A3153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8F405FC-3C06-5553-03CF-CC677E8C05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889BC98-39E5-B714-75C0-A31A43CA48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0D58B43-8399-4789-9469-A5058EB47B0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07284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766DF8-3929-5F42-3CF2-A2DF560A33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77FA94A-124D-ABD2-1470-0D81587055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8451357-4841-AA7B-ECD0-89EE9B1687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5536C0B-24FA-D292-F4E6-4CA6ED3AD33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30837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82956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164358-0F77-3E08-0349-D79CF422BE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498A2C0-DED7-0FEA-8A87-2D00E3572F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446828A-0DDF-F534-A6BD-BEA20922ED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95CC1D-D5A0-A510-84DF-19A917927A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08064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8757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6AF65E-9F2D-5B9C-036C-445CECD456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529861D-6BB2-90A2-496F-238877C0BC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2EC76C8-7667-07FF-61AD-42EF5ADCB0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A79D728-028F-D39B-7A2B-A42275BA5F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72041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8CB8D2-3AE4-2C3C-EBBF-FEC20BF57A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77B6742-58CC-F1D5-11D3-A9F66BD163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3442019-4B1C-893D-40B5-ACAD76EAD12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31B0CD6-AA73-59E5-79E6-EC4FEC0FBCE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93222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4C4D50-E466-A5DB-88F5-D73CE243A9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A21900F-5AA4-7192-E035-DC8E5B4B10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5515507-F159-426B-8998-0AF35A0D83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11B1C5F-CE2A-B54D-490B-320BECA0CDB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18118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A07303-009B-6640-B304-E38E738469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F327938-22D5-7E54-F798-0E80F13A8A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EEF4E46-1FD3-8148-45C2-9CCB5AC264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02C9150-1998-D5DA-0AC5-32DD311019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57477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6920F0-3553-3394-99B4-0649B8CD26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A17A5C4-F383-9E52-716A-2531E49BFA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826886E-D54E-80E4-CE57-19D50B35AA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177B216-833C-D10C-95C8-12053FF758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79883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9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F49A4F40-859E-4EF4-95F4-1C556D78B4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6" y="0"/>
            <a:ext cx="12192677" cy="6858000"/>
          </a:xfrm>
          <a:prstGeom prst="rect">
            <a:avLst/>
          </a:prstGeom>
        </p:spPr>
      </p:pic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576DE017-86A7-4C6D-BB8C-59DE6F188C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6350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18" progId="TCLayout.ActiveDocument.1">
                  <p:embed/>
                </p:oleObj>
              </mc:Choice>
              <mc:Fallback>
                <p:oleObj name="think-cell Folie" r:id="rId5" imgW="352" imgH="318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576DE017-86A7-4C6D-BB8C-59DE6F188C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5D5E9AE9-AEC6-45A6-BB0F-E145C7CB6D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0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622940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invGray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900329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00329" y="3046158"/>
            <a:ext cx="4328932" cy="1046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1BDD42D0-6BC2-486E-A22E-2913772944C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700" y="3883151"/>
            <a:ext cx="5516891" cy="643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9973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4075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A3103-A6C0-4AC8-B5D2-D11453B0FBBD}" type="datetime3">
              <a:rPr lang="en-US" noProof="0" smtClean="0"/>
              <a:t>25 September 2025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Y DE PPT Galler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917" y="1137920"/>
            <a:ext cx="8254800" cy="494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 dirty="0" smtClean="0"/>
            </a:lvl1pPr>
            <a:lvl2pPr marL="271463" marR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2pPr>
            <a:lvl3pPr marL="511175" marR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3pPr>
            <a:lvl4pPr marL="746125" marR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4pPr>
            <a:lvl5pPr marL="944563" marR="0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463" marR="0" lvl="1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1175" marR="0" lvl="2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6125" marR="0" lvl="3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563" marR="0" lvl="4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FBB59D39-6114-41B0-8E75-E6A062D8042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723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6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64FA27B8-9154-4F95-8315-DB0CCE9842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009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2" imgH="318" progId="TCLayout.ActiveDocument.1">
                  <p:embed/>
                </p:oleObj>
              </mc:Choice>
              <mc:Fallback>
                <p:oleObj name="think-cell Folie" r:id="rId3" imgW="352" imgH="31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64FA27B8-9154-4F95-8315-DB0CCE984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>
            <a:extLst>
              <a:ext uri="{FF2B5EF4-FFF2-40B4-BE49-F238E27FC236}">
                <a16:creationId xmlns:a16="http://schemas.microsoft.com/office/drawing/2014/main" id="{20CDEFBF-D514-4A85-8F6B-0A9A6C4F26E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64"/>
            <a:ext cx="12198350" cy="6866621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343" y="3789040"/>
            <a:ext cx="4537959" cy="105570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en-US" noProof="0"/>
              <a:t>Chapter Title</a:t>
            </a:r>
          </a:p>
          <a:p>
            <a:pPr lvl="0"/>
            <a:r>
              <a:rPr lang="en-US" noProof="0"/>
              <a:t>EY Interstate Light</a:t>
            </a:r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511DE75E-C218-487C-9B44-8A9A7AC1A5B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5085184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79851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78806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_with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DCEC99-3975-402E-836C-A005CC9EA577}" type="datetime3">
              <a:rPr lang="en-US" smtClean="0"/>
              <a:t>25 September 2025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Y DE PPT Galler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F1BC30E3-FFE5-4B91-AA19-87A149EBB9E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" y="4207757"/>
            <a:ext cx="648000" cy="648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57973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312070A-9FC0-49BB-A558-0E1B08B4D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18" progId="TCLayout.ActiveDocument.1">
                  <p:embed/>
                </p:oleObj>
              </mc:Choice>
              <mc:Fallback>
                <p:oleObj name="think-cell Slide" r:id="rId4" imgW="352" imgH="31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312070A-9FC0-49BB-A558-0E1B08B4D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B44FADE-3642-4AAC-B8BA-A90DF9413D6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6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7759E70-5D15-4411-8DED-F9D2BDD7BE3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0" y="0"/>
            <a:ext cx="12188389" cy="6858000"/>
          </a:xfrm>
          <a:prstGeom prst="rect">
            <a:avLst/>
          </a:prstGeom>
        </p:spPr>
      </p:pic>
      <p:sp>
        <p:nvSpPr>
          <p:cNvPr id="6" name="Rechteck 10">
            <a:extLst>
              <a:ext uri="{FF2B5EF4-FFF2-40B4-BE49-F238E27FC236}">
                <a16:creationId xmlns:a16="http://schemas.microsoft.com/office/drawing/2014/main" id="{B51D8BC7-BDA4-4E36-A3CE-F77554EE1A1A}"/>
              </a:ext>
            </a:extLst>
          </p:cNvPr>
          <p:cNvSpPr/>
          <p:nvPr userDrawn="1"/>
        </p:nvSpPr>
        <p:spPr>
          <a:xfrm>
            <a:off x="4980" y="3176"/>
            <a:ext cx="12169094" cy="6854824"/>
          </a:xfrm>
          <a:prstGeom prst="rect">
            <a:avLst/>
          </a:prstGeom>
          <a:gradFill flip="none" rotWithShape="1">
            <a:gsLst>
              <a:gs pos="16000">
                <a:schemeClr val="bg2"/>
              </a:gs>
              <a:gs pos="57000">
                <a:schemeClr val="bg2">
                  <a:alpha val="0"/>
                </a:schemeClr>
              </a:gs>
            </a:gsLst>
            <a:lin ang="19200000" scaled="0"/>
            <a:tileRect/>
          </a:gra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200845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>
            <a:extLst>
              <a:ext uri="{FF2B5EF4-FFF2-40B4-BE49-F238E27FC236}">
                <a16:creationId xmlns:a16="http://schemas.microsoft.com/office/drawing/2014/main" id="{D39DD8B5-29D5-4255-8546-08AF2D6221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18" progId="TCLayout.ActiveDocument.1">
                  <p:embed/>
                </p:oleObj>
              </mc:Choice>
              <mc:Fallback>
                <p:oleObj name="think-cell Slide" r:id="rId4" imgW="352" imgH="318" progId="TCLayout.ActiveDocument.1">
                  <p:embed/>
                  <p:pic>
                    <p:nvPicPr>
                      <p:cNvPr id="46" name="Objekt 45" hidden="1">
                        <a:extLst>
                          <a:ext uri="{FF2B5EF4-FFF2-40B4-BE49-F238E27FC236}">
                            <a16:creationId xmlns:a16="http://schemas.microsoft.com/office/drawing/2014/main" id="{D39DD8B5-29D5-4255-8546-08AF2D622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hteck 44" hidden="1">
            <a:extLst>
              <a:ext uri="{FF2B5EF4-FFF2-40B4-BE49-F238E27FC236}">
                <a16:creationId xmlns:a16="http://schemas.microsoft.com/office/drawing/2014/main" id="{D561E5CB-7648-4CCC-ADDC-A258EC91449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0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44" name="Grafik 43">
            <a:extLst>
              <a:ext uri="{FF2B5EF4-FFF2-40B4-BE49-F238E27FC236}">
                <a16:creationId xmlns:a16="http://schemas.microsoft.com/office/drawing/2014/main" id="{4A1B1425-4BE4-46EA-A15F-54E7A3B79F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331" y="0"/>
            <a:ext cx="12207681" cy="6858000"/>
          </a:xfrm>
          <a:prstGeom prst="rect">
            <a:avLst/>
          </a:prstGeom>
        </p:spPr>
      </p:pic>
      <p:sp>
        <p:nvSpPr>
          <p:cNvPr id="2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622940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900329" y="1954221"/>
            <a:ext cx="3902702" cy="979702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00329" y="3046158"/>
            <a:ext cx="4328932" cy="1046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invGray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  <p:pic>
        <p:nvPicPr>
          <p:cNvPr id="48" name="Grafik 47">
            <a:extLst>
              <a:ext uri="{FF2B5EF4-FFF2-40B4-BE49-F238E27FC236}">
                <a16:creationId xmlns:a16="http://schemas.microsoft.com/office/drawing/2014/main" id="{CD8CFB81-0F8A-4957-9F71-2E5C7E4E72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868" t="30525" r="48266" b="26518"/>
          <a:stretch/>
        </p:blipFill>
        <p:spPr>
          <a:xfrm>
            <a:off x="4911043" y="1055364"/>
            <a:ext cx="2556284" cy="2511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1012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7A84450B-E946-4307-A583-1AAA759C79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1" cy="6858000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DCD790D2-8CC5-4114-B48E-538D2707FFD8}"/>
              </a:ext>
            </a:extLst>
          </p:cNvPr>
          <p:cNvSpPr/>
          <p:nvPr userDrawn="1"/>
        </p:nvSpPr>
        <p:spPr>
          <a:xfrm>
            <a:off x="0" y="-4754"/>
            <a:ext cx="12198351" cy="6862754"/>
          </a:xfrm>
          <a:prstGeom prst="rect">
            <a:avLst/>
          </a:prstGeom>
          <a:gradFill flip="none" rotWithShape="1">
            <a:gsLst>
              <a:gs pos="3000">
                <a:schemeClr val="bg2">
                  <a:alpha val="91000"/>
                </a:schemeClr>
              </a:gs>
              <a:gs pos="100000">
                <a:schemeClr val="bg2">
                  <a:alpha val="29000"/>
                </a:schemeClr>
              </a:gs>
            </a:gsLst>
            <a:lin ang="0" scaled="1"/>
            <a:tileRect/>
          </a:gra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312070A-9FC0-49BB-A558-0E1B08B4D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18" progId="TCLayout.ActiveDocument.1">
                  <p:embed/>
                </p:oleObj>
              </mc:Choice>
              <mc:Fallback>
                <p:oleObj name="think-cell Slide" r:id="rId5" imgW="352" imgH="31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312070A-9FC0-49BB-A558-0E1B08B4D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B44FADE-3642-4AAC-B8BA-A90DF9413D6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F35D77D5-0149-4F43-83C5-2A556C863BD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1047450"/>
            <a:ext cx="914082" cy="0"/>
          </a:xfrm>
          <a:prstGeom prst="line">
            <a:avLst/>
          </a:prstGeom>
          <a:noFill/>
          <a:ln w="41275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0F52ABD-8248-4CFD-BBB1-C4BF7477C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603422"/>
          </a:xfrm>
        </p:spPr>
        <p:txBody>
          <a:bodyPr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A4146C4-1406-4248-9CE2-4F622C7CA9A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917" y="1449395"/>
            <a:ext cx="10978515" cy="4643430"/>
          </a:xfrm>
        </p:spPr>
        <p:txBody>
          <a:bodyPr/>
          <a:lstStyle>
            <a:lvl1pPr marL="356616" marR="0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2000">
                <a:solidFill>
                  <a:schemeClr val="bg1"/>
                </a:solidFill>
              </a:defRPr>
            </a:lvl1pPr>
            <a:lvl2pPr marL="713232" marR="0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800">
                <a:solidFill>
                  <a:schemeClr val="bg1"/>
                </a:solidFill>
              </a:defRPr>
            </a:lvl2pPr>
            <a:lvl3pPr marL="1069848" marR="0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600">
                <a:solidFill>
                  <a:schemeClr val="bg1"/>
                </a:solidFill>
              </a:defRPr>
            </a:lvl3pPr>
            <a:lvl4pPr marL="1426464" marR="0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400">
                <a:solidFill>
                  <a:schemeClr val="bg1"/>
                </a:solidFill>
              </a:defRPr>
            </a:lvl4pPr>
            <a:lvl5pPr marL="1783080" marR="0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200">
                <a:solidFill>
                  <a:schemeClr val="bg1"/>
                </a:solidFill>
              </a:defRPr>
            </a:lvl5pPr>
          </a:lstStyle>
          <a:p>
            <a:pPr marL="356616" marR="0" lvl="0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ck to edit Master text styles</a:t>
            </a:r>
          </a:p>
          <a:p>
            <a:pPr marL="713232" marR="0" lvl="1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069848" marR="0" lvl="2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1426464" marR="0" lvl="3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1783080" marR="0" lvl="4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CDAE7EFB-C88A-43E1-A427-D63FDF4976B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278C3FB-6A80-4CED-BA62-D3F753B7F4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944B9BA2-3B2C-4961-9FA6-819D52D72D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81994738-1B8E-43F6-93A8-E71956CE1E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4350363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0">
            <a:extLst>
              <a:ext uri="{FF2B5EF4-FFF2-40B4-BE49-F238E27FC236}">
                <a16:creationId xmlns:a16="http://schemas.microsoft.com/office/drawing/2014/main" id="{97B9B08E-1FD8-40CD-BC4D-F95F6DE934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54"/>
          <a:stretch/>
        </p:blipFill>
        <p:spPr>
          <a:xfrm>
            <a:off x="1589" y="0"/>
            <a:ext cx="12234149" cy="6865937"/>
          </a:xfrm>
          <a:prstGeom prst="rect">
            <a:avLst/>
          </a:prstGeom>
        </p:spPr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312070A-9FC0-49BB-A558-0E1B08B4D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18" progId="TCLayout.ActiveDocument.1">
                  <p:embed/>
                </p:oleObj>
              </mc:Choice>
              <mc:Fallback>
                <p:oleObj name="think-cell Slide" r:id="rId5" imgW="352" imgH="31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312070A-9FC0-49BB-A558-0E1B08B4D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B44FADE-3642-4AAC-B8BA-A90DF9413D6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F35D77D5-0149-4F43-83C5-2A556C863BD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1047450"/>
            <a:ext cx="914082" cy="0"/>
          </a:xfrm>
          <a:prstGeom prst="line">
            <a:avLst/>
          </a:prstGeom>
          <a:noFill/>
          <a:ln w="41275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0F52ABD-8248-4CFD-BBB1-C4BF7477C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603422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A4146C4-1406-4248-9CE2-4F622C7CA9A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917" y="1137920"/>
            <a:ext cx="10978515" cy="4954905"/>
          </a:xfrm>
        </p:spPr>
        <p:txBody>
          <a:bodyPr/>
          <a:lstStyle>
            <a:lvl1pPr marL="356616" marR="0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2000">
                <a:solidFill>
                  <a:schemeClr val="bg1"/>
                </a:solidFill>
              </a:defRPr>
            </a:lvl1pPr>
            <a:lvl2pPr marL="713232" marR="0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800">
                <a:solidFill>
                  <a:schemeClr val="bg1"/>
                </a:solidFill>
              </a:defRPr>
            </a:lvl2pPr>
            <a:lvl3pPr marL="1069848" marR="0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600">
                <a:solidFill>
                  <a:schemeClr val="bg1"/>
                </a:solidFill>
              </a:defRPr>
            </a:lvl3pPr>
            <a:lvl4pPr marL="1426464" marR="0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400">
                <a:solidFill>
                  <a:schemeClr val="bg1"/>
                </a:solidFill>
              </a:defRPr>
            </a:lvl4pPr>
            <a:lvl5pPr marL="1783080" marR="0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200">
                <a:solidFill>
                  <a:schemeClr val="bg1"/>
                </a:solidFill>
              </a:defRPr>
            </a:lvl5pPr>
          </a:lstStyle>
          <a:p>
            <a:pPr marL="356616" marR="0" lvl="0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ck to edit Master text styles</a:t>
            </a:r>
          </a:p>
          <a:p>
            <a:pPr marL="713232" marR="0" lvl="1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069848" marR="0" lvl="2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1426464" marR="0" lvl="3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1783080" marR="0" lvl="4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CED84906-9648-4D76-BB68-F2B01DAF432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7029777-8EBB-4BD8-A3B8-8DB4299BF7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20217048-E7A0-41D5-A963-8638A2E139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CAF437BB-0074-4C46-BC23-B5D4F04B09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6269141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1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tags" Target="../tags/tag1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23" Type="http://schemas.openxmlformats.org/officeDocument/2006/relationships/tags" Target="../tags/tag1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46D5B61-59CF-4DE6-A3DF-BCF7491BFC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34301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" imgW="352" imgH="318" progId="TCLayout.ActiveDocument.1">
                  <p:embed/>
                </p:oleObj>
              </mc:Choice>
              <mc:Fallback>
                <p:oleObj name="think-cell Folie" r:id="rId24" imgW="352" imgH="31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46D5B61-59CF-4DE6-A3DF-BCF7491BF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BBF9CEB6-BDCF-473A-AF03-3A3A892B98BD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8" name="Textplatzhalter 27"/>
          <p:cNvSpPr>
            <a:spLocks noGrp="1"/>
          </p:cNvSpPr>
          <p:nvPr>
            <p:ph type="body" idx="1"/>
          </p:nvPr>
        </p:nvSpPr>
        <p:spPr>
          <a:xfrm>
            <a:off x="608400" y="1137600"/>
            <a:ext cx="109800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marL="511175" lvl="2" indent="-233363"/>
            <a:r>
              <a:rPr lang="en-US" noProof="0"/>
              <a:t>Third level</a:t>
            </a:r>
          </a:p>
          <a:p>
            <a:pPr marL="746125" lvl="3" indent="-231775"/>
            <a:r>
              <a:rPr lang="en-US" noProof="0"/>
              <a:t>Fourth level</a:t>
            </a:r>
          </a:p>
          <a:p>
            <a:pPr marL="944563" lvl="4" indent="-201613">
              <a:buClr>
                <a:srgbClr val="FFE600"/>
              </a:buClr>
            </a:pPr>
            <a:r>
              <a:rPr lang="en-US" noProof="0"/>
              <a:t>Text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  <a:endParaRPr lang="en-US" noProof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invGray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/>
            </a:p>
          </p:txBody>
        </p:sp>
      </p:grp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lnSpc>
                <a:spcPct val="100000"/>
              </a:lnSpc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7897E68F-55AD-4C27-A3CB-53BD1BAD3598}" type="datetime3">
              <a:rPr lang="en-US" noProof="0" smtClean="0"/>
              <a:t>25 September 2025</a:t>
            </a:fld>
            <a:endParaRPr lang="en-US" noProof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lnSpc>
                <a:spcPct val="100000"/>
              </a:lnSpc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 noProof="0"/>
              <a:t>EY DE PPT Gallery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lnSpc>
                <a:spcPct val="100000"/>
              </a:lnSpc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 noProof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/>
          </a:p>
        </p:txBody>
      </p:sp>
      <p:grpSp>
        <p:nvGrpSpPr>
          <p:cNvPr id="13" name="Harvey 8" hidden="1">
            <a:extLst>
              <a:ext uri="{FF2B5EF4-FFF2-40B4-BE49-F238E27FC236}">
                <a16:creationId xmlns:a16="http://schemas.microsoft.com/office/drawing/2014/main" id="{D3F4D0FA-A81B-4B10-9021-8A65104D4F33}"/>
              </a:ext>
            </a:extLst>
          </p:cNvPr>
          <p:cNvGrpSpPr>
            <a:grpSpLocks/>
          </p:cNvGrpSpPr>
          <p:nvPr userDrawn="1">
            <p:custDataLst>
              <p:tags r:id="rId14"/>
            </p:custDataLst>
          </p:nvPr>
        </p:nvGrpSpPr>
        <p:grpSpPr>
          <a:xfrm>
            <a:off x="12325350" y="0"/>
            <a:ext cx="292608" cy="292608"/>
            <a:chOff x="0" y="0"/>
            <a:chExt cx="914400" cy="914400"/>
          </a:xfrm>
          <a:solidFill>
            <a:schemeClr val="tx1"/>
          </a:solidFill>
        </p:grpSpPr>
        <p:sp>
          <p:nvSpPr>
            <p:cNvPr id="15" name="Harvey 0/8 [0]" hidden="1">
              <a:extLst>
                <a:ext uri="{FF2B5EF4-FFF2-40B4-BE49-F238E27FC236}">
                  <a16:creationId xmlns:a16="http://schemas.microsoft.com/office/drawing/2014/main" id="{911B7AE0-6D9E-4951-8C02-4EBC2285390C}"/>
                </a:ext>
              </a:extLst>
            </p:cNvPr>
            <p:cNvSpPr>
              <a:spLocks noChangeAspect="1"/>
            </p:cNvSpPr>
            <p:nvPr>
              <p:custDataLst>
                <p:tags r:id="rId1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Harvey 1/8 [1]" hidden="1">
              <a:extLst>
                <a:ext uri="{FF2B5EF4-FFF2-40B4-BE49-F238E27FC236}">
                  <a16:creationId xmlns:a16="http://schemas.microsoft.com/office/drawing/2014/main" id="{BD484FA2-A4C6-409E-8073-01940BE23E65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Harvey 2/8 [2]" hidden="1">
              <a:extLst>
                <a:ext uri="{FF2B5EF4-FFF2-40B4-BE49-F238E27FC236}">
                  <a16:creationId xmlns:a16="http://schemas.microsoft.com/office/drawing/2014/main" id="{8504C18C-DAC9-4333-AB1C-4E0C850CF777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8" name="Harvey 3/8 [3]" hidden="1">
              <a:extLst>
                <a:ext uri="{FF2B5EF4-FFF2-40B4-BE49-F238E27FC236}">
                  <a16:creationId xmlns:a16="http://schemas.microsoft.com/office/drawing/2014/main" id="{BAEB09BB-552E-4890-B99B-9246574F66D0}"/>
                </a:ext>
              </a:extLst>
            </p:cNvPr>
            <p:cNvSpPr>
              <a:spLocks noChangeAspect="1"/>
            </p:cNvSpPr>
            <p:nvPr>
              <p:custDataLst>
                <p:tags r:id="rId1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Harvey 4/8 [4]" hidden="1">
              <a:extLst>
                <a:ext uri="{FF2B5EF4-FFF2-40B4-BE49-F238E27FC236}">
                  <a16:creationId xmlns:a16="http://schemas.microsoft.com/office/drawing/2014/main" id="{C08003B0-E416-44B2-8399-11F93D366890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Harvey 5/8 [5]" hidden="1">
              <a:extLst>
                <a:ext uri="{FF2B5EF4-FFF2-40B4-BE49-F238E27FC236}">
                  <a16:creationId xmlns:a16="http://schemas.microsoft.com/office/drawing/2014/main" id="{AD4A1008-3865-4155-9924-7E0548EC350C}"/>
                </a:ext>
              </a:extLst>
            </p:cNvPr>
            <p:cNvSpPr>
              <a:spLocks noChangeAspect="1"/>
            </p:cNvSpPr>
            <p:nvPr>
              <p:custDataLst>
                <p:tags r:id="rId2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Harvey 6/8 [6]" hidden="1">
              <a:extLst>
                <a:ext uri="{FF2B5EF4-FFF2-40B4-BE49-F238E27FC236}">
                  <a16:creationId xmlns:a16="http://schemas.microsoft.com/office/drawing/2014/main" id="{83C9211C-945F-4AC1-9413-1EC55879FA2B}"/>
                </a:ext>
              </a:extLst>
            </p:cNvPr>
            <p:cNvSpPr>
              <a:spLocks noChangeAspect="1"/>
            </p:cNvSpPr>
            <p:nvPr>
              <p:custDataLst>
                <p:tags r:id="rId2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Harvey 7/8 [7]" hidden="1">
              <a:extLst>
                <a:ext uri="{FF2B5EF4-FFF2-40B4-BE49-F238E27FC236}">
                  <a16:creationId xmlns:a16="http://schemas.microsoft.com/office/drawing/2014/main" id="{BE9B4F0A-AF42-4C57-A9DC-C1E75F25959A}"/>
                </a:ext>
              </a:extLst>
            </p:cNvPr>
            <p:cNvSpPr>
              <a:spLocks noChangeAspect="1"/>
            </p:cNvSpPr>
            <p:nvPr>
              <p:custDataLst>
                <p:tags r:id="rId2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" name="Harvey 8/8 [8]" hidden="1">
              <a:extLst>
                <a:ext uri="{FF2B5EF4-FFF2-40B4-BE49-F238E27FC236}">
                  <a16:creationId xmlns:a16="http://schemas.microsoft.com/office/drawing/2014/main" id="{B01DBED3-6466-4665-82C1-FC700CE328E9}"/>
                </a:ext>
              </a:extLst>
            </p:cNvPr>
            <p:cNvSpPr>
              <a:spLocks noChangeAspect="1"/>
            </p:cNvSpPr>
            <p:nvPr>
              <p:custDataLst>
                <p:tags r:id="rId2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9714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4" r:id="rId1"/>
    <p:sldLayoutId id="2147484006" r:id="rId2"/>
    <p:sldLayoutId id="2147484008" r:id="rId3"/>
    <p:sldLayoutId id="2147483840" r:id="rId4"/>
    <p:sldLayoutId id="2147484001" r:id="rId5"/>
    <p:sldLayoutId id="2147484126" r:id="rId6"/>
    <p:sldLayoutId id="2147484127" r:id="rId7"/>
    <p:sldLayoutId id="2147484129" r:id="rId8"/>
    <p:sldLayoutId id="2147484130" r:id="rId9"/>
    <p:sldLayoutId id="2147484131" r:id="rId10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271463" marR="0" indent="-271463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None/>
        <a:tabLst/>
        <a:defRPr kumimoji="0" lang="de-DE" sz="2000" b="0" i="0" u="none" strike="noStrike" kern="1200" cap="none" spc="0" normalizeH="0" baseline="0" noProof="0" dirty="0" smtClean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1pPr>
      <a:lvl2pPr marL="271463" marR="0" indent="-271463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2000" b="0" i="0" u="none" strike="noStrike" kern="1200" cap="none" spc="0" normalizeH="0" baseline="0" noProof="0" dirty="0" smtClean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2pPr>
      <a:lvl3pPr marL="563562" marR="0" indent="-28575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1800" b="0" i="0" u="none" strike="noStrike" kern="1200" cap="none" spc="0" normalizeH="0" baseline="0" noProof="0" dirty="0" smtClean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3pPr>
      <a:lvl4pPr marL="800100" marR="0" indent="-28575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1600" b="0" i="0" u="none" strike="noStrike" kern="1200" cap="none" spc="0" normalizeH="0" baseline="0" noProof="0" dirty="0" smtClean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4pPr>
      <a:lvl5pPr marL="944563" indent="-2016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1400" b="0" i="0" u="none" strike="noStrike" kern="1200" cap="none" spc="0" normalizeH="0" baseline="0" noProof="0" dirty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84" userDrawn="1">
          <p15:clr>
            <a:srgbClr val="F26B43"/>
          </p15:clr>
        </p15:guide>
        <p15:guide id="4" pos="7301" userDrawn="1">
          <p15:clr>
            <a:srgbClr val="F26B43"/>
          </p15:clr>
        </p15:guide>
        <p15:guide id="5" orient="horz" pos="187" userDrawn="1">
          <p15:clr>
            <a:srgbClr val="F26B43"/>
          </p15:clr>
        </p15:guide>
        <p15:guide id="6" orient="horz" pos="709" userDrawn="1">
          <p15:clr>
            <a:srgbClr val="F26B43"/>
          </p15:clr>
        </p15:guide>
        <p15:guide id="7" orient="horz" pos="3838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4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6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1.emf"/><Relationship Id="rId11" Type="http://schemas.openxmlformats.org/officeDocument/2006/relationships/image" Target="../media/image30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29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1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2.pn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3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18" progId="TCLayout.ActiveDocument.1">
                  <p:embed/>
                </p:oleObj>
              </mc:Choice>
              <mc:Fallback>
                <p:oleObj name="think-cell Folie" r:id="rId4" imgW="352" imgH="318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noProof="0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noProof="0">
                <a:solidFill>
                  <a:srgbClr val="FFFFFF"/>
                </a:solidFill>
              </a:endParaRPr>
            </a:p>
          </p:txBody>
        </p:sp>
      </p:grpSp>
      <p:sp>
        <p:nvSpPr>
          <p:cNvPr id="45" name="Title 1"/>
          <p:cNvSpPr txBox="1">
            <a:spLocks/>
          </p:cNvSpPr>
          <p:nvPr/>
        </p:nvSpPr>
        <p:spPr>
          <a:xfrm>
            <a:off x="880099" y="1954221"/>
            <a:ext cx="4328932" cy="979702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92500" lnSpcReduction="20000"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3000" b="0">
                <a:solidFill>
                  <a:srgbClr val="2E2E38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es-ES" sz="4000" noProof="0">
                <a:solidFill>
                  <a:schemeClr val="tx1"/>
                </a:solidFill>
              </a:rPr>
              <a:t>Mini Project – Band SQL</a:t>
            </a:r>
          </a:p>
        </p:txBody>
      </p:sp>
      <p:sp>
        <p:nvSpPr>
          <p:cNvPr id="46" name="Subtitle 2"/>
          <p:cNvSpPr txBox="1">
            <a:spLocks/>
          </p:cNvSpPr>
          <p:nvPr/>
        </p:nvSpPr>
        <p:spPr>
          <a:xfrm>
            <a:off x="880099" y="3321783"/>
            <a:ext cx="3741067" cy="224488"/>
          </a:xfrm>
          <a:prstGeom prst="rect">
            <a:avLst/>
          </a:prstGeom>
        </p:spPr>
        <p:txBody>
          <a:bodyPr lIns="0" tIns="0" rIns="0" bIns="0">
            <a:normAutofit lnSpcReduction="10000"/>
          </a:bodyPr>
          <a:lstStyle>
            <a:lvl1pPr marL="356616" marR="0" indent="-35661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Tx/>
              <a:buNone/>
              <a:tabLst/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356616" marR="0" indent="-35661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642937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92710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3668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s-ES" sz="1600" b="1" noProof="0">
                <a:solidFill>
                  <a:schemeClr val="tx1"/>
                </a:solidFill>
                <a:latin typeface="EYInterstate" panose="02000503020000020004" pitchFamily="2" charset="0"/>
              </a:rPr>
              <a:t>SEPTIEMBRE 2025</a:t>
            </a:r>
          </a:p>
        </p:txBody>
      </p:sp>
    </p:spTree>
    <p:extLst>
      <p:ext uri="{BB962C8B-B14F-4D97-AF65-F5344CB8AC3E}">
        <p14:creationId xmlns:p14="http://schemas.microsoft.com/office/powerpoint/2010/main" val="2274597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4F1C5877-3D3E-A4CB-8C3A-E60614C8C7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6E9F9A1-ED3C-382C-F8F6-51B48FB0C6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18" progId="TCLayout.ActiveDocument.1">
                  <p:embed/>
                </p:oleObj>
              </mc:Choice>
              <mc:Fallback>
                <p:oleObj name="think-cell Folie" r:id="rId5" imgW="352" imgH="31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6E9F9A1-ED3C-382C-F8F6-51B48FB0C6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18407381-EAC9-D2F9-4356-58106C91437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0" cap="none" spc="0" normalizeH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ED2891B-5C51-10C4-E2A9-41A67B00F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noProof="0"/>
              <a:t>Gráfico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4BFEA52-7C11-5896-8D6B-A4CD00FBE7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ES" noProof="0"/>
              <a:t>Page </a:t>
            </a:r>
            <a:fld id="{F1BC30E3-FFE5-4B91-AA19-87A149EBB9EE}" type="slidenum">
              <a:rPr lang="es-ES" noProof="0" smtClean="0"/>
              <a:pPr/>
              <a:t>10</a:t>
            </a:fld>
            <a:endParaRPr lang="es-ES" noProof="0"/>
          </a:p>
        </p:txBody>
      </p:sp>
      <p:pic>
        <p:nvPicPr>
          <p:cNvPr id="7" name="Picture 6" descr="A graph with blue and green dots&#10;&#10;AI-generated content may be incorrect.">
            <a:extLst>
              <a:ext uri="{FF2B5EF4-FFF2-40B4-BE49-F238E27FC236}">
                <a16:creationId xmlns:a16="http://schemas.microsoft.com/office/drawing/2014/main" id="{F0289CA9-39E3-9D9D-8680-3A030D9F08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7782" y="1198127"/>
            <a:ext cx="9582785" cy="5363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6460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E881AEA4-F071-58A5-5763-3618D613F9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B6B17FB-1B2D-0201-59D2-03A47FB9AA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18" progId="TCLayout.ActiveDocument.1">
                  <p:embed/>
                </p:oleObj>
              </mc:Choice>
              <mc:Fallback>
                <p:oleObj name="think-cell Folie" r:id="rId5" imgW="352" imgH="31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B6B17FB-1B2D-0201-59D2-03A47FB9AA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E090E217-B844-CD3B-358A-34EFFB5908B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0" cap="none" spc="0" normalizeH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CC363490-33EE-247F-325A-75E0C96027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noProof="0"/>
              <a:t>Gráfico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B205FD0-B812-E8BD-EAF7-7C63330F2F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ES" noProof="0"/>
              <a:t>Page </a:t>
            </a:r>
            <a:fld id="{F1BC30E3-FFE5-4B91-AA19-87A149EBB9EE}" type="slidenum">
              <a:rPr lang="es-ES" noProof="0" smtClean="0"/>
              <a:pPr/>
              <a:t>11</a:t>
            </a:fld>
            <a:endParaRPr lang="es-ES" noProof="0"/>
          </a:p>
        </p:txBody>
      </p:sp>
      <p:pic>
        <p:nvPicPr>
          <p:cNvPr id="7" name="Picture 6" descr="A graph with blue and green dots&#10;&#10;AI-generated content may be incorrect.">
            <a:extLst>
              <a:ext uri="{FF2B5EF4-FFF2-40B4-BE49-F238E27FC236}">
                <a16:creationId xmlns:a16="http://schemas.microsoft.com/office/drawing/2014/main" id="{E7D16960-B8DF-AC0F-D40A-0ECE1DAE440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7782" y="1198127"/>
            <a:ext cx="9582785" cy="536311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872052A-9FFA-71F5-EEB7-D01187F906DC}"/>
              </a:ext>
            </a:extLst>
          </p:cNvPr>
          <p:cNvSpPr/>
          <p:nvPr/>
        </p:nvSpPr>
        <p:spPr>
          <a:xfrm>
            <a:off x="2688336" y="3849624"/>
            <a:ext cx="4123944" cy="2121408"/>
          </a:xfrm>
          <a:prstGeom prst="rect">
            <a:avLst/>
          </a:prstGeom>
          <a:noFill/>
          <a:ln w="76200" cap="sq" cmpd="sng" algn="ctr">
            <a:solidFill>
              <a:schemeClr val="bg2"/>
            </a:solidFill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7723306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C09CB295-DAB4-4467-A558-62EBF581E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72429D9-83BD-B631-6209-8A2ABFECBC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18" progId="TCLayout.ActiveDocument.1">
                  <p:embed/>
                </p:oleObj>
              </mc:Choice>
              <mc:Fallback>
                <p:oleObj name="think-cell Folie" r:id="rId5" imgW="352" imgH="31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572429D9-83BD-B631-6209-8A2ABFECBC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3FACF654-415B-48F0-7325-B29F2FFDCE8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0" cap="none" spc="0" normalizeH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05D2878-9760-2CB3-3B9E-444E9618F2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noProof="0"/>
              <a:t>Gráfico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BFD800BB-2FDB-67DC-57EA-1A690B09F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ES" noProof="0"/>
              <a:t>Page </a:t>
            </a:r>
            <a:fld id="{F1BC30E3-FFE5-4B91-AA19-87A149EBB9EE}" type="slidenum">
              <a:rPr lang="es-ES" noProof="0" smtClean="0"/>
              <a:pPr/>
              <a:t>12</a:t>
            </a:fld>
            <a:endParaRPr lang="es-ES" noProof="0"/>
          </a:p>
        </p:txBody>
      </p:sp>
      <p:pic>
        <p:nvPicPr>
          <p:cNvPr id="5" name="Picture 4" descr="A graph with blue dots&#10;&#10;AI-generated content may be incorrect.">
            <a:extLst>
              <a:ext uri="{FF2B5EF4-FFF2-40B4-BE49-F238E27FC236}">
                <a16:creationId xmlns:a16="http://schemas.microsoft.com/office/drawing/2014/main" id="{4E611554-2F6F-0D3D-64ED-7160C4A4443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813" y="1298711"/>
            <a:ext cx="9984724" cy="4992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6800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79C0F3A6-EE59-9E16-5FD7-6232209924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1EC8F01B-6ABA-495A-F89B-7D12F843BADA}"/>
              </a:ext>
            </a:extLst>
          </p:cNvPr>
          <p:cNvSpPr txBox="1">
            <a:spLocks/>
          </p:cNvSpPr>
          <p:nvPr/>
        </p:nvSpPr>
        <p:spPr>
          <a:xfrm>
            <a:off x="-133171" y="509371"/>
            <a:ext cx="5220000" cy="685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55000" b="1" kern="1200">
                <a:solidFill>
                  <a:schemeClr val="bg2">
                    <a:lumMod val="20000"/>
                    <a:lumOff val="80000"/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216000" marR="0" indent="-2160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charset="0"/>
              <a:buChar char="•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200" marR="0" indent="-231775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>
                <a:tab pos="231775" algn="l"/>
              </a:tabLst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marR="0" indent="-230188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2338" marR="0" indent="-2286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71691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634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578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522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s-ES" sz="50000" noProof="0">
                <a:solidFill>
                  <a:schemeClr val="bg1">
                    <a:alpha val="30000"/>
                  </a:schemeClr>
                </a:solidFill>
                <a:latin typeface="EYInterstate Light" panose="02000506000000020004" pitchFamily="2" charset="0"/>
              </a:rPr>
              <a:t>4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A70E8B-A03B-289D-CE57-C287EC2F86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 defTabSz="1084046" fontAlgn="b">
              <a:spcAft>
                <a:spcPts val="0"/>
              </a:spcAft>
              <a:buClrTx/>
              <a:buSzTx/>
              <a:defRPr/>
            </a:pPr>
            <a:r>
              <a:rPr lang="es-ES" sz="3200" noProof="0"/>
              <a:t>Timeline de los principales artistas</a:t>
            </a:r>
          </a:p>
        </p:txBody>
      </p:sp>
    </p:spTree>
    <p:extLst>
      <p:ext uri="{BB962C8B-B14F-4D97-AF65-F5344CB8AC3E}">
        <p14:creationId xmlns:p14="http://schemas.microsoft.com/office/powerpoint/2010/main" val="15252705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AF10A30A-277A-4101-03AB-298F6383F6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07608E4-49AC-8E64-8E4E-EB8C27148D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18" progId="TCLayout.ActiveDocument.1">
                  <p:embed/>
                </p:oleObj>
              </mc:Choice>
              <mc:Fallback>
                <p:oleObj name="think-cell Folie" r:id="rId5" imgW="352" imgH="31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407608E4-49AC-8E64-8E4E-EB8C27148D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44C1D1AE-BA0D-0DD0-DB41-288B0899FF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0" cap="none" spc="0" normalizeH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7E46FC5-496E-1069-B328-0F6A27AA31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noProof="0"/>
              <a:t>SQL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D4E5C28-D45D-FBD3-321C-57DE4BD05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ES" noProof="0"/>
              <a:t>Page </a:t>
            </a:r>
            <a:fld id="{F1BC30E3-FFE5-4B91-AA19-87A149EBB9EE}" type="slidenum">
              <a:rPr lang="es-ES" noProof="0" smtClean="0"/>
              <a:pPr/>
              <a:t>14</a:t>
            </a:fld>
            <a:endParaRPr lang="es-ES" noProof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C5C302D9-5207-3FC3-C1FF-B674A9DBE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39188" y="6471244"/>
            <a:ext cx="3086100" cy="180000"/>
          </a:xfrm>
        </p:spPr>
        <p:txBody>
          <a:bodyPr/>
          <a:lstStyle/>
          <a:p>
            <a:r>
              <a:rPr lang="es-ES" noProof="0"/>
              <a:t>EY EW PPT </a:t>
            </a:r>
            <a:r>
              <a:rPr lang="es-ES" noProof="0" err="1"/>
              <a:t>Gallery</a:t>
            </a:r>
            <a:endParaRPr lang="es-ES" noProof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FEF81B4-B069-8496-F46D-C2F9687CB601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r="8076"/>
          <a:stretch>
            <a:fillRect/>
          </a:stretch>
        </p:blipFill>
        <p:spPr>
          <a:xfrm>
            <a:off x="219710" y="1150573"/>
            <a:ext cx="6402907" cy="204734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EA2DF99-B7DB-A21F-4A7D-E3B2BD85A23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74536" y="1150573"/>
            <a:ext cx="5404104" cy="491630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F3D9191-8E1C-2D09-617D-B0007BAE105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33544" y="3197918"/>
            <a:ext cx="5340992" cy="2691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9742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9EC7E6-37AD-D7DA-1AEC-AEEAEE2F75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Gráfico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B8FC45-6EFD-B520-2D6C-7ECFE805D1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F1BC30E3-FFE5-4B91-AA19-87A149EBB9EE}" type="slidenum">
              <a:rPr lang="en-US" noProof="0" smtClean="0"/>
              <a:pPr/>
              <a:t>15</a:t>
            </a:fld>
            <a:endParaRPr lang="en-US" noProof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4D70A38-9725-676D-FE9F-AC7D6BCBD02D}"/>
              </a:ext>
            </a:extLst>
          </p:cNvPr>
          <p:cNvGrpSpPr/>
          <p:nvPr/>
        </p:nvGrpSpPr>
        <p:grpSpPr>
          <a:xfrm>
            <a:off x="1965960" y="508950"/>
            <a:ext cx="9253729" cy="6064829"/>
            <a:chOff x="1984248" y="463230"/>
            <a:chExt cx="9253729" cy="6064829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2A156C8F-3457-C26A-2A49-1782A9B4121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996133" y="3335861"/>
              <a:ext cx="4559067" cy="3192198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0D52FE95-8C3B-6863-4111-62B55F42489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546056" y="3271411"/>
              <a:ext cx="4691921" cy="3256648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2AEF4569-1C83-3ED0-078F-D8644FEE14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555200" y="463230"/>
              <a:ext cx="4678578" cy="3247387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3071916E-AD2E-C361-BF5B-89FA3D5068D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984248" y="463817"/>
              <a:ext cx="4580096" cy="319322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120208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ECCE4043-7016-2A40-9232-D2684AA974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C770BC0C-0695-2A64-C836-A5EE87FAF7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18" progId="TCLayout.ActiveDocument.1">
                  <p:embed/>
                </p:oleObj>
              </mc:Choice>
              <mc:Fallback>
                <p:oleObj name="think-cell Folie" r:id="rId5" imgW="352" imgH="31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C770BC0C-0695-2A64-C836-A5EE87FAF7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0D6EC931-E004-AEAC-0A5D-1E330B31E18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0" cap="none" spc="0" normalizeH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1" name="object 3">
            <a:extLst>
              <a:ext uri="{FF2B5EF4-FFF2-40B4-BE49-F238E27FC236}">
                <a16:creationId xmlns:a16="http://schemas.microsoft.com/office/drawing/2014/main" id="{2E3BEEF6-2825-8992-1A50-BB3CA4711CB7}"/>
              </a:ext>
            </a:extLst>
          </p:cNvPr>
          <p:cNvSpPr txBox="1">
            <a:spLocks/>
          </p:cNvSpPr>
          <p:nvPr/>
        </p:nvSpPr>
        <p:spPr>
          <a:xfrm>
            <a:off x="3850142" y="3066751"/>
            <a:ext cx="6110908" cy="2858122"/>
          </a:xfrm>
          <a:prstGeom prst="rect">
            <a:avLst/>
          </a:prstGeom>
        </p:spPr>
        <p:txBody>
          <a:bodyPr vert="horz" wrap="square" lIns="36000" tIns="1123601" rIns="0" bIns="0" rtlCol="0">
            <a:spAutoFit/>
          </a:bodyPr>
          <a:lstStyle>
            <a:lvl1pPr marL="356616" indent="-356616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676275" indent="-3190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54088" indent="-2682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189038" indent="-2159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3668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398145" indent="0">
              <a:spcBef>
                <a:spcPts val="800"/>
              </a:spcBef>
              <a:buNone/>
            </a:pP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We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must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make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sure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that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people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who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have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the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grades,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the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desire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and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the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will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,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but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not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the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money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, can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still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get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the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best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education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possible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D366467-7375-5E68-BDE6-1D73688BD2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noProof="0"/>
              <a:t>Gráfico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DF1682B-D46F-3855-86E9-CA2BB0BF5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ES" noProof="0"/>
              <a:t>Page </a:t>
            </a:r>
            <a:fld id="{F1BC30E3-FFE5-4B91-AA19-87A149EBB9EE}" type="slidenum">
              <a:rPr lang="es-ES" noProof="0" smtClean="0"/>
              <a:pPr/>
              <a:t>16</a:t>
            </a:fld>
            <a:endParaRPr lang="es-ES" noProof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7664FC2D-0974-09DF-D903-01DF1E3271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961564" y="6471244"/>
            <a:ext cx="3086100" cy="180000"/>
          </a:xfrm>
        </p:spPr>
        <p:txBody>
          <a:bodyPr/>
          <a:lstStyle/>
          <a:p>
            <a:r>
              <a:rPr lang="es-ES" noProof="0"/>
              <a:t>EY EW PPT </a:t>
            </a:r>
            <a:r>
              <a:rPr lang="es-ES" noProof="0" err="1"/>
              <a:t>Gallery</a:t>
            </a:r>
            <a:endParaRPr lang="es-ES" noProof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AA4AB55-87C7-12C5-19E3-3E2B21AECE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57659" y="0"/>
            <a:ext cx="7527784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7CCA2DB-1024-9BDD-2095-FDE9240CF234}"/>
              </a:ext>
            </a:extLst>
          </p:cNvPr>
          <p:cNvSpPr txBox="1"/>
          <p:nvPr/>
        </p:nvSpPr>
        <p:spPr>
          <a:xfrm>
            <a:off x="9503850" y="3163824"/>
            <a:ext cx="914400" cy="265176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wrap="square" lIns="0" tIns="0" rIns="0" bIns="0" rtlCol="0">
            <a:noAutofit/>
          </a:bodyPr>
          <a:lstStyle/>
          <a:p>
            <a:pPr algn="l" defTabSz="685434">
              <a:spcAft>
                <a:spcPts val="600"/>
              </a:spcAft>
              <a:buClr>
                <a:srgbClr val="FFE600"/>
              </a:buClr>
              <a:buSzPct val="80000"/>
            </a:pPr>
            <a:endParaRPr lang="es-ES" sz="1400" kern="0">
              <a:solidFill>
                <a:schemeClr val="bg1"/>
              </a:solidFill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887A095-8542-F9E3-B324-DB8B778D1E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7695472"/>
              </p:ext>
            </p:extLst>
          </p:nvPr>
        </p:nvGraphicFramePr>
        <p:xfrm>
          <a:off x="9362244" y="3073310"/>
          <a:ext cx="1348803" cy="259080"/>
        </p:xfrm>
        <a:graphic>
          <a:graphicData uri="http://schemas.openxmlformats.org/drawingml/2006/table">
            <a:tbl>
              <a:tblPr/>
              <a:tblGrid>
                <a:gridCol w="1348803">
                  <a:extLst>
                    <a:ext uri="{9D8B030D-6E8A-4147-A177-3AD203B41FA5}">
                      <a16:colId xmlns:a16="http://schemas.microsoft.com/office/drawing/2014/main" val="220323584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s-ES" sz="1100">
                          <a:solidFill>
                            <a:schemeClr val="bg2"/>
                          </a:solidFill>
                        </a:rPr>
                        <a:t>1 (Beatles album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0222840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2E0BF683-3207-3D1E-87D3-3473F42F3A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9384922"/>
              </p:ext>
            </p:extLst>
          </p:nvPr>
        </p:nvGraphicFramePr>
        <p:xfrm>
          <a:off x="7128060" y="506407"/>
          <a:ext cx="1348803" cy="426720"/>
        </p:xfrm>
        <a:graphic>
          <a:graphicData uri="http://schemas.openxmlformats.org/drawingml/2006/table">
            <a:tbl>
              <a:tblPr/>
              <a:tblGrid>
                <a:gridCol w="1348803">
                  <a:extLst>
                    <a:ext uri="{9D8B030D-6E8A-4147-A177-3AD203B41FA5}">
                      <a16:colId xmlns:a16="http://schemas.microsoft.com/office/drawing/2014/main" val="220323584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buNone/>
                      </a:pPr>
                      <a:r>
                        <a:rPr lang="es-ES" sz="1100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Unplugged (Eric Clapton album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0222840"/>
                  </a:ext>
                </a:extLst>
              </a:tr>
            </a:tbl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4067B7F4-CFF4-2588-B5F6-FFF6AECD0B3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9349" y="2157984"/>
            <a:ext cx="2590024" cy="1755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1162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F2EE322C-E070-AE73-C87D-F7CA2E8FFE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C7EE6187-7A2D-E196-2CE9-CA568F1A91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18" progId="TCLayout.ActiveDocument.1">
                  <p:embed/>
                </p:oleObj>
              </mc:Choice>
              <mc:Fallback>
                <p:oleObj name="think-cell Folie" r:id="rId5" imgW="352" imgH="31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C7EE6187-7A2D-E196-2CE9-CA568F1A91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1AC26F95-ABB7-79AE-35DC-E4D4683BA31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0" cap="none" spc="0" normalizeH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1DF6DA3-1322-C16E-CB8A-B7C1836263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noProof="0"/>
              <a:t>Gráfico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CB3CCD5-BB64-E6CD-EDB9-6ECE299F1A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ES" noProof="0"/>
              <a:t>Page </a:t>
            </a:r>
            <a:fld id="{F1BC30E3-FFE5-4B91-AA19-87A149EBB9EE}" type="slidenum">
              <a:rPr lang="es-ES" noProof="0" smtClean="0"/>
              <a:pPr/>
              <a:t>17</a:t>
            </a:fld>
            <a:endParaRPr lang="es-ES" noProof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FCCF17D-8F97-754B-340B-1A256831690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15289" y="4276702"/>
            <a:ext cx="3952109" cy="237454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7AE853F-CEC8-8C91-4F65-704FE10E57B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0589" y="1864458"/>
            <a:ext cx="3897082" cy="234463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D4458F3-4688-20DD-621C-7324BE66EA3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41102" y="4320945"/>
            <a:ext cx="3843136" cy="23302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742B1ED-3929-79E1-56E3-395F996290F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752527" y="129047"/>
            <a:ext cx="4098282" cy="245225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A53B36D-2DC0-07BF-0159-47EE7B68158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1182" y="1661804"/>
            <a:ext cx="4098283" cy="2519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6378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 show="0">
  <p:cSld>
    <p:spTree>
      <p:nvGrpSpPr>
        <p:cNvPr id="1" name="">
          <a:extLst>
            <a:ext uri="{FF2B5EF4-FFF2-40B4-BE49-F238E27FC236}">
              <a16:creationId xmlns:a16="http://schemas.microsoft.com/office/drawing/2014/main" id="{65AC55D4-FB83-8E90-8F2F-07245C7041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75B9C2E5-8CE7-824A-3088-32162CDA75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18" progId="TCLayout.ActiveDocument.1">
                  <p:embed/>
                </p:oleObj>
              </mc:Choice>
              <mc:Fallback>
                <p:oleObj name="think-cell Folie" r:id="rId5" imgW="352" imgH="31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75B9C2E5-8CE7-824A-3088-32162CDA75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ED00E3A4-1384-690A-0A6A-F15B3FB2170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0" cap="none" spc="0" normalizeH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1" name="object 3">
            <a:extLst>
              <a:ext uri="{FF2B5EF4-FFF2-40B4-BE49-F238E27FC236}">
                <a16:creationId xmlns:a16="http://schemas.microsoft.com/office/drawing/2014/main" id="{AA28EDF8-C5C6-A933-ABFE-370D7E71CF18}"/>
              </a:ext>
            </a:extLst>
          </p:cNvPr>
          <p:cNvSpPr txBox="1">
            <a:spLocks/>
          </p:cNvSpPr>
          <p:nvPr/>
        </p:nvSpPr>
        <p:spPr>
          <a:xfrm>
            <a:off x="3127766" y="3066751"/>
            <a:ext cx="6110908" cy="2858122"/>
          </a:xfrm>
          <a:prstGeom prst="rect">
            <a:avLst/>
          </a:prstGeom>
        </p:spPr>
        <p:txBody>
          <a:bodyPr vert="horz" wrap="square" lIns="36000" tIns="1123601" rIns="0" bIns="0" rtlCol="0">
            <a:spAutoFit/>
          </a:bodyPr>
          <a:lstStyle>
            <a:lvl1pPr marL="356616" indent="-356616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676275" indent="-3190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54088" indent="-2682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189038" indent="-2159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3668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398145" indent="0">
              <a:spcBef>
                <a:spcPts val="800"/>
              </a:spcBef>
              <a:buNone/>
            </a:pP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We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must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make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sure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that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people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who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have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the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grades,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the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desire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and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the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will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,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but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not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the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money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, can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still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get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the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best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education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lang="es-ES" sz="2800" noProof="0" err="1">
                <a:solidFill>
                  <a:srgbClr val="FFFFFF"/>
                </a:solidFill>
                <a:latin typeface="Georgia"/>
                <a:cs typeface="Georgia"/>
              </a:rPr>
              <a:t>possible</a:t>
            </a:r>
            <a:r>
              <a:rPr lang="es-ES" sz="2800" noProof="0">
                <a:solidFill>
                  <a:srgbClr val="FFFFFF"/>
                </a:solidFill>
                <a:latin typeface="Georgia"/>
                <a:cs typeface="Georgia"/>
              </a:rPr>
              <a:t>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DDEB7F80-D5D6-E777-DB8E-C9C6C6DCF1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noProof="0"/>
              <a:t>Gráfico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55A6B21-2D15-829F-FB6A-D5350FFEB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ES" noProof="0"/>
              <a:t>Page </a:t>
            </a:r>
            <a:fld id="{F1BC30E3-FFE5-4B91-AA19-87A149EBB9EE}" type="slidenum">
              <a:rPr lang="es-ES" noProof="0" smtClean="0"/>
              <a:pPr/>
              <a:t>18</a:t>
            </a:fld>
            <a:endParaRPr lang="es-ES" noProof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89C9963E-914D-2420-510D-D7B1C5EFB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39188" y="6471244"/>
            <a:ext cx="3086100" cy="180000"/>
          </a:xfrm>
        </p:spPr>
        <p:txBody>
          <a:bodyPr/>
          <a:lstStyle/>
          <a:p>
            <a:r>
              <a:rPr lang="es-ES" noProof="0"/>
              <a:t>EY EW PPT </a:t>
            </a:r>
            <a:r>
              <a:rPr lang="es-ES" noProof="0" err="1"/>
              <a:t>Gallery</a:t>
            </a:r>
            <a:endParaRPr lang="es-ES" noProof="0"/>
          </a:p>
        </p:txBody>
      </p:sp>
      <p:pic>
        <p:nvPicPr>
          <p:cNvPr id="7" name="Picture 6" descr="A graph of sales by group&#10;&#10;AI-generated content may be incorrect.">
            <a:extLst>
              <a:ext uri="{FF2B5EF4-FFF2-40B4-BE49-F238E27FC236}">
                <a16:creationId xmlns:a16="http://schemas.microsoft.com/office/drawing/2014/main" id="{7515775B-C105-A2AB-AE6E-634D7C1F107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759" y="122911"/>
            <a:ext cx="11228832" cy="6612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2445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34E69757-59B1-E3ED-A2C2-AFE9169E44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6D9692F0-F7E6-8099-1825-F4FCDA916B67}"/>
              </a:ext>
            </a:extLst>
          </p:cNvPr>
          <p:cNvSpPr txBox="1">
            <a:spLocks/>
          </p:cNvSpPr>
          <p:nvPr/>
        </p:nvSpPr>
        <p:spPr>
          <a:xfrm>
            <a:off x="-133171" y="509371"/>
            <a:ext cx="5220000" cy="685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55000" b="1" kern="1200">
                <a:solidFill>
                  <a:schemeClr val="bg2">
                    <a:lumMod val="20000"/>
                    <a:lumOff val="80000"/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216000" marR="0" indent="-2160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charset="0"/>
              <a:buChar char="•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200" marR="0" indent="-231775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>
                <a:tab pos="231775" algn="l"/>
              </a:tabLst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marR="0" indent="-230188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2338" marR="0" indent="-2286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71691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634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578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522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s-ES" sz="50000" noProof="0">
                <a:solidFill>
                  <a:schemeClr val="bg1">
                    <a:alpha val="30000"/>
                  </a:schemeClr>
                </a:solidFill>
                <a:latin typeface="EYInterstate Light" panose="02000506000000020004" pitchFamily="2" charset="0"/>
              </a:rPr>
              <a:t>5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84332D-9841-7943-9933-97EB094045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 defTabSz="1084046" fontAlgn="b">
              <a:spcAft>
                <a:spcPts val="0"/>
              </a:spcAft>
              <a:buClrTx/>
              <a:buSzTx/>
              <a:defRPr/>
            </a:pPr>
            <a:r>
              <a:rPr lang="es-ES" sz="3200" noProof="0"/>
              <a:t>Numero de artistas por banda</a:t>
            </a:r>
          </a:p>
        </p:txBody>
      </p:sp>
    </p:spTree>
    <p:extLst>
      <p:ext uri="{BB962C8B-B14F-4D97-AF65-F5344CB8AC3E}">
        <p14:creationId xmlns:p14="http://schemas.microsoft.com/office/powerpoint/2010/main" val="2328777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770D798D-8773-4029-8A84-30736A1C0D9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33EC84F5-F375-4112-9BE7-EF9E0E813C55}"/>
              </a:ext>
            </a:extLst>
          </p:cNvPr>
          <p:cNvSpPr/>
          <p:nvPr/>
        </p:nvSpPr>
        <p:spPr>
          <a:xfrm>
            <a:off x="7083118" y="-3176"/>
            <a:ext cx="5127323" cy="6861176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50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  <a:tileRect/>
          </a:gra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CBEBD439-B74E-4CED-B2C5-E6E1DD852E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18" progId="TCLayout.ActiveDocument.1">
                  <p:embed/>
                </p:oleObj>
              </mc:Choice>
              <mc:Fallback>
                <p:oleObj name="think-cell Folie" r:id="rId4" imgW="352" imgH="31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CBEBD439-B74E-4CED-B2C5-E6E1DD852E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feld 27">
            <a:extLst>
              <a:ext uri="{FF2B5EF4-FFF2-40B4-BE49-F238E27FC236}">
                <a16:creationId xmlns:a16="http://schemas.microsoft.com/office/drawing/2014/main" id="{E9E8E2A9-5052-4DB3-9413-92B70FD64ECE}"/>
              </a:ext>
            </a:extLst>
          </p:cNvPr>
          <p:cNvSpPr txBox="1"/>
          <p:nvPr/>
        </p:nvSpPr>
        <p:spPr bwMode="gray">
          <a:xfrm>
            <a:off x="7432692" y="332685"/>
            <a:ext cx="1484381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0" i="0" u="none" strike="noStrike" kern="0" cap="none" spc="0" normalizeH="0" baseline="0" noProof="0">
                <a:ln w="12700"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Content</a:t>
            </a:r>
          </a:p>
        </p:txBody>
      </p:sp>
      <p:graphicFrame>
        <p:nvGraphicFramePr>
          <p:cNvPr id="29" name="Table 6">
            <a:extLst>
              <a:ext uri="{FF2B5EF4-FFF2-40B4-BE49-F238E27FC236}">
                <a16:creationId xmlns:a16="http://schemas.microsoft.com/office/drawing/2014/main" id="{63A39C6C-39D1-4386-8738-0E5CCE1047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1068887"/>
              </p:ext>
            </p:extLst>
          </p:nvPr>
        </p:nvGraphicFramePr>
        <p:xfrm>
          <a:off x="7449237" y="1840595"/>
          <a:ext cx="4142364" cy="2197075"/>
        </p:xfrm>
        <a:graphic>
          <a:graphicData uri="http://schemas.openxmlformats.org/drawingml/2006/table">
            <a:tbl>
              <a:tblPr firstRow="1" bandRow="1"/>
              <a:tblGrid>
                <a:gridCol w="3108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649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65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1879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1pPr>
                      <a:lvl2pPr marL="542076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2pPr>
                      <a:lvl3pPr marL="1084152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3pPr>
                      <a:lvl4pPr marL="1626229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4pPr>
                      <a:lvl5pPr marL="2168305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5pPr>
                      <a:lvl6pPr marL="2710381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6pPr>
                      <a:lvl7pPr marL="3252457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7pPr>
                      <a:lvl8pPr marL="3794533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8pPr>
                      <a:lvl9pPr marL="433661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9pPr>
                    </a:lstStyle>
                    <a:p>
                      <a:r>
                        <a:rPr lang="es-ES" sz="1600" b="0" i="0" noProof="0">
                          <a:solidFill>
                            <a:schemeClr val="bg1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 marL="0" marR="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9pPr>
                    </a:lstStyle>
                    <a:p>
                      <a:pPr marL="0" marR="0" lvl="0" indent="0" algn="l" defTabSz="108404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¿Quienes somos?</a:t>
                      </a:r>
                    </a:p>
                  </a:txBody>
                  <a:tcPr marL="0" marR="0" marT="0" marB="0" anchor="ctr">
                    <a:lnL w="12700" cmpd="sng">
                      <a:noFill/>
                      <a:prstDash val="soli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1pPr>
                      <a:lvl2pPr marL="542076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2pPr>
                      <a:lvl3pPr marL="1084152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3pPr>
                      <a:lvl4pPr marL="1626229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4pPr>
                      <a:lvl5pPr marL="2168305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5pPr>
                      <a:lvl6pPr marL="2710381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6pPr>
                      <a:lvl7pPr marL="3252457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7pPr>
                      <a:lvl8pPr marL="3794533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8pPr>
                      <a:lvl9pPr marL="433661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9pPr>
                    </a:lstStyle>
                    <a:p>
                      <a:pPr algn="r"/>
                      <a:endParaRPr lang="es-ES" sz="1600" b="0" kern="1200" noProof="0">
                        <a:solidFill>
                          <a:schemeClr val="tx2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1879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1pPr>
                      <a:lvl2pPr marL="542076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2pPr>
                      <a:lvl3pPr marL="1084152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3pPr>
                      <a:lvl4pPr marL="1626229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4pPr>
                      <a:lvl5pPr marL="2168305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5pPr>
                      <a:lvl6pPr marL="2710381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6pPr>
                      <a:lvl7pPr marL="3252457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7pPr>
                      <a:lvl8pPr marL="3794533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8pPr>
                      <a:lvl9pPr marL="433661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9pPr>
                    </a:lstStyle>
                    <a:p>
                      <a:r>
                        <a:rPr lang="es-ES" sz="1600" b="0" i="0" noProof="0">
                          <a:solidFill>
                            <a:schemeClr val="bg1"/>
                          </a:solidFill>
                          <a:latin typeface="+mn-lt"/>
                        </a:rPr>
                        <a:t>2.</a:t>
                      </a:r>
                    </a:p>
                  </a:txBody>
                  <a:tcPr marL="0" marR="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9pPr>
                    </a:lstStyle>
                    <a:p>
                      <a:pPr marL="0" marR="0" lvl="0" indent="0" algn="l" defTabSz="108404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troducción</a:t>
                      </a:r>
                    </a:p>
                  </a:txBody>
                  <a:tcPr marL="0" marR="0" marT="0" marB="0" anchor="ctr">
                    <a:lnL w="12700" cmpd="sng">
                      <a:noFill/>
                      <a:prstDash val="soli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1pPr>
                      <a:lvl2pPr marL="542076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2pPr>
                      <a:lvl3pPr marL="1084152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3pPr>
                      <a:lvl4pPr marL="1626229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4pPr>
                      <a:lvl5pPr marL="2168305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5pPr>
                      <a:lvl6pPr marL="2710381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6pPr>
                      <a:lvl7pPr marL="3252457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7pPr>
                      <a:lvl8pPr marL="3794533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8pPr>
                      <a:lvl9pPr marL="433661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9pPr>
                    </a:lstStyle>
                    <a:p>
                      <a:pPr algn="r"/>
                      <a:endParaRPr lang="es-ES" sz="1600" b="0" kern="1200" noProof="0">
                        <a:solidFill>
                          <a:schemeClr val="tx2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1879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1pPr>
                      <a:lvl2pPr marL="542076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2pPr>
                      <a:lvl3pPr marL="1084152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3pPr>
                      <a:lvl4pPr marL="1626229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4pPr>
                      <a:lvl5pPr marL="2168305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5pPr>
                      <a:lvl6pPr marL="2710381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6pPr>
                      <a:lvl7pPr marL="3252457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7pPr>
                      <a:lvl8pPr marL="3794533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8pPr>
                      <a:lvl9pPr marL="433661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9pPr>
                    </a:lstStyle>
                    <a:p>
                      <a:r>
                        <a:rPr lang="es-ES" sz="1600" b="0" i="0" noProof="0">
                          <a:solidFill>
                            <a:schemeClr val="bg1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 marL="0" marR="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9pPr>
                    </a:lstStyle>
                    <a:p>
                      <a:pPr marL="0" marR="0" lvl="0" indent="0" algn="l" defTabSz="108404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¿Correlación de </a:t>
                      </a:r>
                      <a:r>
                        <a:rPr lang="es-ES" sz="1600" kern="1200" noProof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unt</a:t>
                      </a:r>
                      <a:r>
                        <a:rPr lang="es-ES" sz="1600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s-ES" sz="1600" kern="1200" noProof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genres</a:t>
                      </a:r>
                      <a:r>
                        <a:rPr lang="es-ES" sz="1600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) vs </a:t>
                      </a:r>
                      <a:r>
                        <a:rPr lang="es-ES" sz="1600" kern="1200" noProof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ales_amount</a:t>
                      </a:r>
                      <a:r>
                        <a:rPr lang="es-ES" sz="1600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0" marR="0" marT="0" marB="0" anchor="ctr">
                    <a:lnL w="12700" cmpd="sng">
                      <a:noFill/>
                      <a:prstDash val="soli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1pPr>
                      <a:lvl2pPr marL="542076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2pPr>
                      <a:lvl3pPr marL="1084152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3pPr>
                      <a:lvl4pPr marL="1626229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4pPr>
                      <a:lvl5pPr marL="2168305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5pPr>
                      <a:lvl6pPr marL="2710381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6pPr>
                      <a:lvl7pPr marL="3252457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7pPr>
                      <a:lvl8pPr marL="3794533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8pPr>
                      <a:lvl9pPr marL="433661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9pPr>
                    </a:lstStyle>
                    <a:p>
                      <a:pPr algn="r"/>
                      <a:endParaRPr lang="es-ES" sz="1600" b="0" kern="1200" noProof="0">
                        <a:solidFill>
                          <a:schemeClr val="tx2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1879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1pPr>
                      <a:lvl2pPr marL="542076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2pPr>
                      <a:lvl3pPr marL="1084152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3pPr>
                      <a:lvl4pPr marL="1626229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4pPr>
                      <a:lvl5pPr marL="2168305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5pPr>
                      <a:lvl6pPr marL="2710381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6pPr>
                      <a:lvl7pPr marL="3252457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7pPr>
                      <a:lvl8pPr marL="3794533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8pPr>
                      <a:lvl9pPr marL="433661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9pPr>
                    </a:lstStyle>
                    <a:p>
                      <a:r>
                        <a:rPr lang="es-ES" sz="1600" b="0" i="0" noProof="0">
                          <a:solidFill>
                            <a:schemeClr val="bg1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 marL="0" marR="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9pPr>
                    </a:lstStyle>
                    <a:p>
                      <a:pPr marL="0" marR="0" lvl="0" indent="0" algn="l" defTabSz="108404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imeline de los principales artistas</a:t>
                      </a:r>
                    </a:p>
                  </a:txBody>
                  <a:tcPr marL="0" marR="0" marT="0" marB="0" anchor="ctr">
                    <a:lnL w="12700" cmpd="sng">
                      <a:noFill/>
                      <a:prstDash val="soli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1pPr>
                      <a:lvl2pPr marL="542076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2pPr>
                      <a:lvl3pPr marL="1084152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3pPr>
                      <a:lvl4pPr marL="1626229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4pPr>
                      <a:lvl5pPr marL="2168305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5pPr>
                      <a:lvl6pPr marL="2710381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6pPr>
                      <a:lvl7pPr marL="3252457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7pPr>
                      <a:lvl8pPr marL="3794533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8pPr>
                      <a:lvl9pPr marL="433661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9pPr>
                    </a:lstStyle>
                    <a:p>
                      <a:pPr algn="r"/>
                      <a:endParaRPr lang="es-ES" sz="1600" b="0" kern="1200" noProof="0">
                        <a:solidFill>
                          <a:schemeClr val="tx2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1879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1pPr>
                      <a:lvl2pPr marL="542076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2pPr>
                      <a:lvl3pPr marL="1084152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3pPr>
                      <a:lvl4pPr marL="1626229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4pPr>
                      <a:lvl5pPr marL="2168305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5pPr>
                      <a:lvl6pPr marL="2710381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6pPr>
                      <a:lvl7pPr marL="3252457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7pPr>
                      <a:lvl8pPr marL="3794533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8pPr>
                      <a:lvl9pPr marL="433661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9pPr>
                    </a:lstStyle>
                    <a:p>
                      <a:r>
                        <a:rPr lang="es-ES" sz="1600" b="0" i="0" noProof="0">
                          <a:solidFill>
                            <a:schemeClr val="bg1"/>
                          </a:solidFill>
                          <a:latin typeface="+mn-lt"/>
                        </a:rPr>
                        <a:t>5.</a:t>
                      </a:r>
                    </a:p>
                  </a:txBody>
                  <a:tcPr marL="0" marR="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9pPr>
                    </a:lstStyle>
                    <a:p>
                      <a:pPr marL="0" marR="0" lvl="0" indent="0" algn="l" defTabSz="108404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umero de artistas por banda</a:t>
                      </a:r>
                    </a:p>
                  </a:txBody>
                  <a:tcPr marL="0" marR="0" marT="0" marB="0" anchor="ctr">
                    <a:lnL w="12700" cmpd="sng">
                      <a:noFill/>
                      <a:prstDash val="soli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1pPr>
                      <a:lvl2pPr marL="542076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2pPr>
                      <a:lvl3pPr marL="1084152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3pPr>
                      <a:lvl4pPr marL="1626229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4pPr>
                      <a:lvl5pPr marL="2168305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5pPr>
                      <a:lvl6pPr marL="2710381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6pPr>
                      <a:lvl7pPr marL="3252457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7pPr>
                      <a:lvl8pPr marL="3794533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8pPr>
                      <a:lvl9pPr marL="433661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9pPr>
                    </a:lstStyle>
                    <a:p>
                      <a:pPr algn="r"/>
                      <a:endParaRPr lang="es-ES" sz="1600" b="0" kern="1200" noProof="0">
                        <a:solidFill>
                          <a:schemeClr val="tx2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1879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1pPr>
                      <a:lvl2pPr marL="542076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2pPr>
                      <a:lvl3pPr marL="1084152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3pPr>
                      <a:lvl4pPr marL="1626229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4pPr>
                      <a:lvl5pPr marL="2168305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5pPr>
                      <a:lvl6pPr marL="2710381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6pPr>
                      <a:lvl7pPr marL="3252457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7pPr>
                      <a:lvl8pPr marL="3794533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8pPr>
                      <a:lvl9pPr marL="433661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9pPr>
                    </a:lstStyle>
                    <a:p>
                      <a:r>
                        <a:rPr lang="es-ES" sz="1600" b="0" i="0" noProof="0">
                          <a:solidFill>
                            <a:schemeClr val="bg1"/>
                          </a:solidFill>
                          <a:latin typeface="+mn-lt"/>
                        </a:rPr>
                        <a:t>6.</a:t>
                      </a:r>
                    </a:p>
                  </a:txBody>
                  <a:tcPr marL="0" marR="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9pPr>
                    </a:lstStyle>
                    <a:p>
                      <a:pPr marL="0" marR="0" lvl="0" indent="0" algn="l" defTabSz="108404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oblemas y soluciones</a:t>
                      </a:r>
                    </a:p>
                  </a:txBody>
                  <a:tcPr marL="0" marR="0" marT="0" marB="0" anchor="ctr">
                    <a:lnL w="12700" cmpd="sng">
                      <a:noFill/>
                      <a:prstDash val="soli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s-ES" sz="1600" b="0" kern="1200" noProof="0">
                        <a:solidFill>
                          <a:schemeClr val="tx2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359954"/>
                  </a:ext>
                </a:extLst>
              </a:tr>
            </a:tbl>
          </a:graphicData>
        </a:graphic>
      </p:graphicFrame>
      <p:sp>
        <p:nvSpPr>
          <p:cNvPr id="13" name="Line 10">
            <a:extLst>
              <a:ext uri="{FF2B5EF4-FFF2-40B4-BE49-F238E27FC236}">
                <a16:creationId xmlns:a16="http://schemas.microsoft.com/office/drawing/2014/main" id="{6F91F5DA-AFB5-4580-8722-2782BCC36F9B}"/>
              </a:ext>
            </a:extLst>
          </p:cNvPr>
          <p:cNvSpPr>
            <a:spLocks noChangeShapeType="1"/>
          </p:cNvSpPr>
          <p:nvPr/>
        </p:nvSpPr>
        <p:spPr bwMode="auto">
          <a:xfrm>
            <a:off x="7462074" y="907750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ES" noProof="0">
              <a:solidFill>
                <a:schemeClr val="bg1"/>
              </a:solidFill>
            </a:endParaRPr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BA87220E-8C4D-4117-B41F-E084E597FBFC}"/>
              </a:ext>
            </a:extLst>
          </p:cNvPr>
          <p:cNvSpPr txBox="1">
            <a:spLocks/>
          </p:cNvSpPr>
          <p:nvPr/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>
              <a:lnSpc>
                <a:spcPct val="100000"/>
              </a:lnSpc>
              <a:defRPr lang="en-IN" sz="800" smtClean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noProof="0"/>
              <a:t>Page </a:t>
            </a:r>
            <a:fld id="{F1BC30E3-FFE5-4B91-AA19-87A149EBB9EE}" type="slidenum">
              <a:rPr lang="es-ES" noProof="0" smtClean="0"/>
              <a:pPr/>
              <a:t>2</a:t>
            </a:fld>
            <a:endParaRPr lang="es-ES" noProof="0"/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6A2876D8-E8D0-4BFA-912B-C5B331583DDA}"/>
              </a:ext>
            </a:extLst>
          </p:cNvPr>
          <p:cNvGrpSpPr>
            <a:grpSpLocks noChangeAspect="1"/>
          </p:cNvGrpSpPr>
          <p:nvPr/>
        </p:nvGrpSpPr>
        <p:grpSpPr bwMode="invGray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8FAAEA30-21EC-488D-9B5E-155E3949912F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s-ES" noProof="0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2953AA78-17AD-44B1-9646-E0D08646871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s-ES" noProof="0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C9CF7D8B-0A05-4785-AEC2-9D0992F18016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s-ES" noProof="0"/>
            </a:p>
          </p:txBody>
        </p:sp>
      </p:grpSp>
    </p:spTree>
    <p:extLst>
      <p:ext uri="{BB962C8B-B14F-4D97-AF65-F5344CB8AC3E}">
        <p14:creationId xmlns:p14="http://schemas.microsoft.com/office/powerpoint/2010/main" val="17178277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E862A38D-B58B-5196-C087-6D836CB759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D5C4121-26A1-87D8-5590-14BC564C45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18" progId="TCLayout.ActiveDocument.1">
                  <p:embed/>
                </p:oleObj>
              </mc:Choice>
              <mc:Fallback>
                <p:oleObj name="think-cell Folie" r:id="rId5" imgW="352" imgH="31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D5C4121-26A1-87D8-5590-14BC564C45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08B4B2EF-8A6A-61D5-1046-30201B275DC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0" cap="none" spc="0" normalizeH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A3E5672-167B-8211-F95D-71DD312008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noProof="0"/>
              <a:t>SQL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54F4F08-BAAA-574B-D49D-D49AB5B63E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ES" noProof="0"/>
              <a:t>Page </a:t>
            </a:r>
            <a:fld id="{F1BC30E3-FFE5-4B91-AA19-87A149EBB9EE}" type="slidenum">
              <a:rPr lang="es-ES" noProof="0" smtClean="0"/>
              <a:pPr/>
              <a:t>20</a:t>
            </a:fld>
            <a:endParaRPr lang="es-ES" noProof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7F9B0201-61F4-F066-803B-358928F09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39188" y="6471244"/>
            <a:ext cx="3086100" cy="180000"/>
          </a:xfrm>
        </p:spPr>
        <p:txBody>
          <a:bodyPr/>
          <a:lstStyle/>
          <a:p>
            <a:r>
              <a:rPr lang="es-ES" noProof="0"/>
              <a:t>EY EW PPT </a:t>
            </a:r>
            <a:r>
              <a:rPr lang="es-ES" noProof="0" err="1"/>
              <a:t>Gallery</a:t>
            </a:r>
            <a:endParaRPr lang="es-ES" noProof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A87BE7B-DEBA-7634-0E6D-25BF2FE5047E}"/>
              </a:ext>
            </a:extLst>
          </p:cNvPr>
          <p:cNvGrpSpPr/>
          <p:nvPr/>
        </p:nvGrpSpPr>
        <p:grpSpPr>
          <a:xfrm>
            <a:off x="5528429" y="3349246"/>
            <a:ext cx="1658260" cy="1620182"/>
            <a:chOff x="5198818" y="3137208"/>
            <a:chExt cx="1895484" cy="1896018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1CE2264D-C158-74B6-E18C-83C45240B482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5198818" y="3137208"/>
              <a:ext cx="1895484" cy="1896018"/>
            </a:xfrm>
            <a:prstGeom prst="ellipse">
              <a:avLst/>
            </a:prstGeom>
            <a:solidFill>
              <a:schemeClr val="tx1"/>
            </a:solidFill>
            <a:ln w="19050">
              <a:solidFill>
                <a:schemeClr val="bg1"/>
              </a:solidFill>
            </a:ln>
          </p:spPr>
          <p:txBody>
            <a:bodyPr wrap="none" lIns="0" tIns="0" rIns="0" bIns="0" rtlCol="0" anchor="ctr" anchorCtr="0">
              <a:noAutofit/>
            </a:bodyPr>
            <a:lstStyle/>
            <a:p>
              <a:pPr algn="ctr"/>
              <a:endParaRPr lang="es-ES" b="1" noProof="0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627FB0B-C0FF-BFC9-D38A-52EF29894FA3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5284977" y="3223390"/>
              <a:ext cx="1723167" cy="1723653"/>
            </a:xfrm>
            <a:prstGeom prst="ellipse">
              <a:avLst/>
            </a:prstGeom>
            <a:solidFill>
              <a:schemeClr val="tx2"/>
            </a:solidFill>
            <a:ln w="19050">
              <a:noFill/>
            </a:ln>
          </p:spPr>
          <p:txBody>
            <a:bodyPr wrap="none" lIns="0" tIns="0" rIns="0" bIns="0" rtlCol="0" anchor="ctr" anchorCtr="0">
              <a:noAutofit/>
            </a:bodyPr>
            <a:lstStyle/>
            <a:p>
              <a:pPr algn="ctr"/>
              <a:r>
                <a:rPr lang="en-US" b="1"/>
                <a:t>CASE</a:t>
              </a:r>
              <a:endParaRPr lang="es-ES" b="1" noProof="0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6C41ABD-1C7C-F5F6-B203-1648EAD371D8}"/>
              </a:ext>
            </a:extLst>
          </p:cNvPr>
          <p:cNvGrpSpPr/>
          <p:nvPr/>
        </p:nvGrpSpPr>
        <p:grpSpPr>
          <a:xfrm>
            <a:off x="7751554" y="5156789"/>
            <a:ext cx="1658260" cy="1620182"/>
            <a:chOff x="7315619" y="4912852"/>
            <a:chExt cx="1895484" cy="1896018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27A9056-7DDC-CDE4-C9A3-09FEF4EA62C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7315619" y="4912852"/>
              <a:ext cx="1895484" cy="1896018"/>
            </a:xfrm>
            <a:prstGeom prst="ellipse">
              <a:avLst/>
            </a:prstGeom>
            <a:solidFill>
              <a:schemeClr val="tx1"/>
            </a:solidFill>
            <a:ln w="19050">
              <a:solidFill>
                <a:schemeClr val="bg1"/>
              </a:solidFill>
            </a:ln>
          </p:spPr>
          <p:txBody>
            <a:bodyPr wrap="none" lIns="0" tIns="0" rIns="0" bIns="0" rtlCol="0" anchor="ctr" anchorCtr="0">
              <a:noAutofit/>
            </a:bodyPr>
            <a:lstStyle/>
            <a:p>
              <a:pPr algn="ctr"/>
              <a:endParaRPr lang="es-ES" b="1" noProof="0">
                <a:solidFill>
                  <a:schemeClr val="bg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F867287-A716-C2C4-2E73-A71C74506AEE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7401778" y="4999034"/>
              <a:ext cx="1723167" cy="1723653"/>
            </a:xfrm>
            <a:prstGeom prst="ellipse">
              <a:avLst/>
            </a:prstGeom>
            <a:solidFill>
              <a:schemeClr val="tx1">
                <a:lumMod val="60000"/>
                <a:lumOff val="40000"/>
              </a:schemeClr>
            </a:solidFill>
            <a:ln w="19050">
              <a:noFill/>
            </a:ln>
          </p:spPr>
          <p:txBody>
            <a:bodyPr wrap="none" lIns="0" tIns="0" rIns="0" bIns="0" rtlCol="0" anchor="ctr" anchorCtr="0">
              <a:no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S</a:t>
              </a:r>
              <a:r>
                <a:rPr lang="es-ES" b="1">
                  <a:solidFill>
                    <a:schemeClr val="bg1"/>
                  </a:solidFill>
                </a:rPr>
                <a:t>UM </a:t>
              </a:r>
            </a:p>
            <a:p>
              <a:pPr algn="ctr"/>
              <a:r>
                <a:rPr lang="es-ES" b="1" noProof="0">
                  <a:solidFill>
                    <a:schemeClr val="bg1"/>
                  </a:solidFill>
                </a:rPr>
                <a:t>GROUP BY</a:t>
              </a:r>
            </a:p>
          </p:txBody>
        </p:sp>
      </p:grpSp>
      <p:pic>
        <p:nvPicPr>
          <p:cNvPr id="30" name="Picture 29">
            <a:extLst>
              <a:ext uri="{FF2B5EF4-FFF2-40B4-BE49-F238E27FC236}">
                <a16:creationId xmlns:a16="http://schemas.microsoft.com/office/drawing/2014/main" id="{71D4B738-78DF-05E2-1890-0033971E5C8C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-354" t="34621" r="354" b="-34621"/>
          <a:stretch>
            <a:fillRect/>
          </a:stretch>
        </p:blipFill>
        <p:spPr>
          <a:xfrm>
            <a:off x="358797" y="1465255"/>
            <a:ext cx="6475292" cy="172078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A9F5DDB5-2D9B-B345-4CB9-FAAA5D29495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1289" y="2788044"/>
            <a:ext cx="4466572" cy="271105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EEF5BC5-0E45-7CE5-13D9-154259DB283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1168" y="5646927"/>
            <a:ext cx="6475292" cy="735154"/>
          </a:xfrm>
          <a:prstGeom prst="rect">
            <a:avLst/>
          </a:prstGeom>
        </p:spPr>
      </p:pic>
      <p:grpSp>
        <p:nvGrpSpPr>
          <p:cNvPr id="39" name="Group 38">
            <a:extLst>
              <a:ext uri="{FF2B5EF4-FFF2-40B4-BE49-F238E27FC236}">
                <a16:creationId xmlns:a16="http://schemas.microsoft.com/office/drawing/2014/main" id="{B5BEE85C-CEC5-AEB2-B6AD-393FAA4CF9D4}"/>
              </a:ext>
            </a:extLst>
          </p:cNvPr>
          <p:cNvGrpSpPr/>
          <p:nvPr/>
        </p:nvGrpSpPr>
        <p:grpSpPr>
          <a:xfrm>
            <a:off x="7645230" y="1338731"/>
            <a:ext cx="1658260" cy="1620182"/>
            <a:chOff x="6686484" y="1223357"/>
            <a:chExt cx="1895484" cy="1896018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71A46BF-771B-E766-B521-2ED99D50687D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6686484" y="1223357"/>
              <a:ext cx="1895484" cy="1896018"/>
            </a:xfrm>
            <a:prstGeom prst="ellipse">
              <a:avLst/>
            </a:prstGeom>
            <a:solidFill>
              <a:schemeClr val="tx1"/>
            </a:solidFill>
            <a:ln w="19050">
              <a:solidFill>
                <a:schemeClr val="bg1"/>
              </a:solidFill>
            </a:ln>
          </p:spPr>
          <p:txBody>
            <a:bodyPr wrap="none" lIns="0" tIns="0" rIns="0" bIns="0" rtlCol="0" anchor="ctr" anchorCtr="0">
              <a:noAutofit/>
            </a:bodyPr>
            <a:lstStyle/>
            <a:p>
              <a:pPr algn="ctr"/>
              <a:endParaRPr lang="es-ES" b="1" noProof="0">
                <a:solidFill>
                  <a:schemeClr val="bg1"/>
                </a:solidFill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FC866F2-04DE-9087-C9FC-01ACF30FFDE8}"/>
                </a:ext>
              </a:extLst>
            </p:cNvPr>
            <p:cNvSpPr txBox="1">
              <a:spLocks/>
            </p:cNvSpPr>
            <p:nvPr/>
          </p:nvSpPr>
          <p:spPr>
            <a:xfrm>
              <a:off x="6772642" y="1302112"/>
              <a:ext cx="1723167" cy="1723653"/>
            </a:xfrm>
            <a:prstGeom prst="ellipse">
              <a:avLst/>
            </a:prstGeom>
            <a:solidFill>
              <a:schemeClr val="tx1">
                <a:lumMod val="60000"/>
                <a:lumOff val="40000"/>
              </a:schemeClr>
            </a:solidFill>
            <a:ln w="19050">
              <a:noFill/>
            </a:ln>
          </p:spPr>
          <p:txBody>
            <a:bodyPr wrap="none" lIns="0" tIns="0" rIns="0" bIns="0" rtlCol="0" anchor="ctr" anchorCtr="0">
              <a:no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T</a:t>
              </a:r>
              <a:r>
                <a:rPr lang="es-ES" b="1" err="1">
                  <a:solidFill>
                    <a:schemeClr val="bg1"/>
                  </a:solidFill>
                </a:rPr>
                <a:t>emporary</a:t>
              </a:r>
              <a:endParaRPr lang="es-ES" b="1">
                <a:solidFill>
                  <a:schemeClr val="bg1"/>
                </a:solidFill>
              </a:endParaRPr>
            </a:p>
            <a:p>
              <a:pPr algn="ctr"/>
              <a:r>
                <a:rPr lang="es-ES" b="1">
                  <a:solidFill>
                    <a:schemeClr val="bg1"/>
                  </a:solidFill>
                </a:rPr>
                <a:t> tables</a:t>
              </a:r>
              <a:endParaRPr lang="es-ES" b="1" noProof="0">
                <a:solidFill>
                  <a:schemeClr val="bg1"/>
                </a:solidFill>
              </a:endParaRPr>
            </a:p>
          </p:txBody>
        </p:sp>
      </p:grp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089C56DA-17E7-89C7-1F32-03E6F095E76C}"/>
              </a:ext>
            </a:extLst>
          </p:cNvPr>
          <p:cNvCxnSpPr>
            <a:cxnSpLocks/>
            <a:stCxn id="35" idx="2"/>
          </p:cNvCxnSpPr>
          <p:nvPr/>
        </p:nvCxnSpPr>
        <p:spPr>
          <a:xfrm flipH="1">
            <a:off x="6909464" y="2148822"/>
            <a:ext cx="735766" cy="0"/>
          </a:xfrm>
          <a:prstGeom prst="straightConnector1">
            <a:avLst/>
          </a:prstGeom>
          <a:noFill/>
          <a:ln w="22225" cap="sq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DD04945-D6EE-408F-C129-C498D292B919}"/>
              </a:ext>
            </a:extLst>
          </p:cNvPr>
          <p:cNvCxnSpPr>
            <a:cxnSpLocks/>
            <a:stCxn id="4" idx="2"/>
            <a:endCxn id="32" idx="3"/>
          </p:cNvCxnSpPr>
          <p:nvPr/>
        </p:nvCxnSpPr>
        <p:spPr>
          <a:xfrm flipH="1" flipV="1">
            <a:off x="4857861" y="4143571"/>
            <a:ext cx="670568" cy="15766"/>
          </a:xfrm>
          <a:prstGeom prst="straightConnector1">
            <a:avLst/>
          </a:prstGeom>
          <a:noFill/>
          <a:ln w="22225" cap="sq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747B78D0-F18C-0E35-A5DE-28E79E49BF7A}"/>
              </a:ext>
            </a:extLst>
          </p:cNvPr>
          <p:cNvCxnSpPr>
            <a:cxnSpLocks/>
            <a:stCxn id="8" idx="2"/>
          </p:cNvCxnSpPr>
          <p:nvPr/>
        </p:nvCxnSpPr>
        <p:spPr>
          <a:xfrm flipH="1">
            <a:off x="6909464" y="5966880"/>
            <a:ext cx="842090" cy="0"/>
          </a:xfrm>
          <a:prstGeom prst="straightConnector1">
            <a:avLst/>
          </a:prstGeom>
          <a:noFill/>
          <a:ln w="22225" cap="sq" cmpd="sng" algn="ctr">
            <a:solidFill>
              <a:schemeClr val="bg1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9902787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EE39B767-EDB6-AE7D-5C19-83CA3CC811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88F7B13-93E6-D9BA-337A-7A6601E80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18" progId="TCLayout.ActiveDocument.1">
                  <p:embed/>
                </p:oleObj>
              </mc:Choice>
              <mc:Fallback>
                <p:oleObj name="think-cell Folie" r:id="rId5" imgW="352" imgH="31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88F7B13-93E6-D9BA-337A-7A6601E80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D7F8055-B93C-F026-91C3-19FA1647F3F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0" cap="none" spc="0" normalizeH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9EE0E834-A0CC-D7B6-D43B-27E5625FCD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noProof="0"/>
              <a:t>Gráfico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5E2CD8B-D4F9-A2AA-B343-7842B670A3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ES" noProof="0"/>
              <a:t>Page </a:t>
            </a:r>
            <a:fld id="{F1BC30E3-FFE5-4B91-AA19-87A149EBB9EE}" type="slidenum">
              <a:rPr lang="es-ES" noProof="0" smtClean="0"/>
              <a:pPr/>
              <a:t>21</a:t>
            </a:fld>
            <a:endParaRPr lang="es-ES" noProof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0E058923-64FF-5D4C-EA72-6E16BC3729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39188" y="6471244"/>
            <a:ext cx="3086100" cy="180000"/>
          </a:xfrm>
        </p:spPr>
        <p:txBody>
          <a:bodyPr/>
          <a:lstStyle/>
          <a:p>
            <a:r>
              <a:rPr lang="es-ES" noProof="0"/>
              <a:t>EY EW PPT </a:t>
            </a:r>
            <a:r>
              <a:rPr lang="es-ES" noProof="0" err="1"/>
              <a:t>Gallery</a:t>
            </a:r>
            <a:endParaRPr lang="es-ES" noProof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5A171036-8BB6-ECA0-F9F3-55FE110B4E8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38320231"/>
              </p:ext>
            </p:extLst>
          </p:nvPr>
        </p:nvGraphicFramePr>
        <p:xfrm>
          <a:off x="355845" y="1104735"/>
          <a:ext cx="5201675" cy="5106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E24B9E71-D60B-4096-AE6B-1AEAC2DD874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2751427"/>
              </p:ext>
            </p:extLst>
          </p:nvPr>
        </p:nvGraphicFramePr>
        <p:xfrm>
          <a:off x="5557520" y="1104734"/>
          <a:ext cx="6308341" cy="5106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8692047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1C8991FF-00C4-9193-7B42-66273B4454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64A039AC-23BD-60DD-D049-61E54FC8366F}"/>
              </a:ext>
            </a:extLst>
          </p:cNvPr>
          <p:cNvSpPr txBox="1">
            <a:spLocks/>
          </p:cNvSpPr>
          <p:nvPr/>
        </p:nvSpPr>
        <p:spPr>
          <a:xfrm>
            <a:off x="-133171" y="509371"/>
            <a:ext cx="5220000" cy="685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55000" b="1" kern="1200">
                <a:solidFill>
                  <a:schemeClr val="bg2">
                    <a:lumMod val="20000"/>
                    <a:lumOff val="80000"/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216000" marR="0" indent="-2160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charset="0"/>
              <a:buChar char="•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200" marR="0" indent="-231775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>
                <a:tab pos="231775" algn="l"/>
              </a:tabLst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marR="0" indent="-230188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2338" marR="0" indent="-2286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71691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634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578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522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s-ES" sz="50000" noProof="0">
                <a:solidFill>
                  <a:schemeClr val="bg1">
                    <a:alpha val="30000"/>
                  </a:schemeClr>
                </a:solidFill>
                <a:latin typeface="EYInterstate Light" panose="02000506000000020004" pitchFamily="2" charset="0"/>
              </a:rPr>
              <a:t>6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4F9229-0AD5-99BB-5CED-630287E0DC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 defTabSz="1084046" fontAlgn="b">
              <a:spcAft>
                <a:spcPts val="0"/>
              </a:spcAft>
              <a:buClrTx/>
              <a:buSzTx/>
              <a:defRPr/>
            </a:pPr>
            <a:r>
              <a:rPr lang="es-ES" sz="3200" noProof="0"/>
              <a:t>Problemas y soluciones</a:t>
            </a:r>
          </a:p>
        </p:txBody>
      </p:sp>
    </p:spTree>
    <p:extLst>
      <p:ext uri="{BB962C8B-B14F-4D97-AF65-F5344CB8AC3E}">
        <p14:creationId xmlns:p14="http://schemas.microsoft.com/office/powerpoint/2010/main" val="364485399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46F4E67C-2620-5DA9-6854-2DFC5C2844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>
            <a:extLst>
              <a:ext uri="{FF2B5EF4-FFF2-40B4-BE49-F238E27FC236}">
                <a16:creationId xmlns:a16="http://schemas.microsoft.com/office/drawing/2014/main" id="{83F3F9CA-648E-A7FE-3711-57FA831C3D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6" imgH="403" progId="TCLayout.ActiveDocument.1">
                  <p:embed/>
                </p:oleObj>
              </mc:Choice>
              <mc:Fallback>
                <p:oleObj name="think-cell Slide" r:id="rId5" imgW="406" imgH="403" progId="TCLayout.ActiveDocument.1">
                  <p:embed/>
                  <p:pic>
                    <p:nvPicPr>
                      <p:cNvPr id="25" name="Objekt 24" hidden="1">
                        <a:extLst>
                          <a:ext uri="{FF2B5EF4-FFF2-40B4-BE49-F238E27FC236}">
                            <a16:creationId xmlns:a16="http://schemas.microsoft.com/office/drawing/2014/main" id="{83F3F9CA-648E-A7FE-3711-57FA831C3D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 hidden="1">
            <a:extLst>
              <a:ext uri="{FF2B5EF4-FFF2-40B4-BE49-F238E27FC236}">
                <a16:creationId xmlns:a16="http://schemas.microsoft.com/office/drawing/2014/main" id="{23257477-64D3-6940-73EE-68EADBB341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A5F27B7-BAB9-C062-1F85-1B43A76147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noProof="0">
                <a:solidFill>
                  <a:schemeClr val="tx2"/>
                </a:solidFill>
              </a:rPr>
              <a:t>Problemas y soluciones</a:t>
            </a:r>
          </a:p>
        </p:txBody>
      </p:sp>
      <p:sp>
        <p:nvSpPr>
          <p:cNvPr id="174" name="Rectangle 5">
            <a:extLst>
              <a:ext uri="{FF2B5EF4-FFF2-40B4-BE49-F238E27FC236}">
                <a16:creationId xmlns:a16="http://schemas.microsoft.com/office/drawing/2014/main" id="{E800A7FC-96BA-D9E4-2251-E9C129E2E1B9}"/>
              </a:ext>
            </a:extLst>
          </p:cNvPr>
          <p:cNvSpPr/>
          <p:nvPr/>
        </p:nvSpPr>
        <p:spPr>
          <a:xfrm>
            <a:off x="609599" y="1442344"/>
            <a:ext cx="10978505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En este </a:t>
            </a: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proyecto</a:t>
            </a: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 nos hemos encontrado con algunos </a:t>
            </a: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problemas</a:t>
            </a: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 en el camino pero </a:t>
            </a: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entre todos nosotros </a:t>
            </a: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hemos podido </a:t>
            </a: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uperarlos con éxito</a:t>
            </a:r>
          </a:p>
        </p:txBody>
      </p:sp>
      <p:sp>
        <p:nvSpPr>
          <p:cNvPr id="175" name="Rectangle 1636">
            <a:extLst>
              <a:ext uri="{FF2B5EF4-FFF2-40B4-BE49-F238E27FC236}">
                <a16:creationId xmlns:a16="http://schemas.microsoft.com/office/drawing/2014/main" id="{B2D0B614-4284-FF18-A4D1-1F5587E7F045}"/>
              </a:ext>
            </a:extLst>
          </p:cNvPr>
          <p:cNvSpPr>
            <a:spLocks/>
          </p:cNvSpPr>
          <p:nvPr/>
        </p:nvSpPr>
        <p:spPr>
          <a:xfrm>
            <a:off x="2314853" y="2757205"/>
            <a:ext cx="2538915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Falta de comprobación</a:t>
            </a:r>
          </a:p>
        </p:txBody>
      </p:sp>
      <p:sp>
        <p:nvSpPr>
          <p:cNvPr id="177" name="Rectangle 1639">
            <a:extLst>
              <a:ext uri="{FF2B5EF4-FFF2-40B4-BE49-F238E27FC236}">
                <a16:creationId xmlns:a16="http://schemas.microsoft.com/office/drawing/2014/main" id="{79B7B115-9C5C-54CD-3259-1154BCC34E9B}"/>
              </a:ext>
            </a:extLst>
          </p:cNvPr>
          <p:cNvSpPr/>
          <p:nvPr/>
        </p:nvSpPr>
        <p:spPr>
          <a:xfrm>
            <a:off x="4861425" y="2921797"/>
            <a:ext cx="2562932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Gestión de tiempo</a:t>
            </a:r>
          </a:p>
        </p:txBody>
      </p:sp>
      <p:sp>
        <p:nvSpPr>
          <p:cNvPr id="178" name="Rectangle 1640">
            <a:extLst>
              <a:ext uri="{FF2B5EF4-FFF2-40B4-BE49-F238E27FC236}">
                <a16:creationId xmlns:a16="http://schemas.microsoft.com/office/drawing/2014/main" id="{90292111-B3E7-C27E-9851-6347A20AC318}"/>
              </a:ext>
            </a:extLst>
          </p:cNvPr>
          <p:cNvSpPr>
            <a:spLocks/>
          </p:cNvSpPr>
          <p:nvPr/>
        </p:nvSpPr>
        <p:spPr>
          <a:xfrm>
            <a:off x="7424356" y="2921797"/>
            <a:ext cx="2556277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>
                <a:solidFill>
                  <a:srgbClr val="FFFFFF"/>
                </a:solidFill>
                <a:latin typeface="EYInterstate Light"/>
              </a:rPr>
              <a:t>E</a:t>
            </a:r>
            <a:r>
              <a:rPr lang="es-ES" sz="2000" err="1">
                <a:solidFill>
                  <a:srgbClr val="FFFFFF"/>
                </a:solidFill>
                <a:latin typeface="EYInterstate Light"/>
              </a:rPr>
              <a:t>ntendimiento</a:t>
            </a:r>
            <a:endParaRPr kumimoji="0" lang="es-E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F22CBF7-A0E8-31D2-4785-F3370E4AB75D}"/>
              </a:ext>
            </a:extLst>
          </p:cNvPr>
          <p:cNvGrpSpPr/>
          <p:nvPr/>
        </p:nvGrpSpPr>
        <p:grpSpPr>
          <a:xfrm>
            <a:off x="4850483" y="2745499"/>
            <a:ext cx="2556285" cy="2759951"/>
            <a:chOff x="3536106" y="2783599"/>
            <a:chExt cx="2556285" cy="3309226"/>
          </a:xfrm>
        </p:grpSpPr>
        <p:cxnSp>
          <p:nvCxnSpPr>
            <p:cNvPr id="179" name="Straight Connector 61">
              <a:extLst>
                <a:ext uri="{FF2B5EF4-FFF2-40B4-BE49-F238E27FC236}">
                  <a16:creationId xmlns:a16="http://schemas.microsoft.com/office/drawing/2014/main" id="{F1A62C18-C305-07F2-A550-81B013245306}"/>
                </a:ext>
              </a:extLst>
            </p:cNvPr>
            <p:cNvCxnSpPr>
              <a:cxnSpLocks/>
            </p:cNvCxnSpPr>
            <p:nvPr/>
          </p:nvCxnSpPr>
          <p:spPr>
            <a:xfrm>
              <a:off x="3536106" y="2783599"/>
              <a:ext cx="0" cy="3309226"/>
            </a:xfrm>
            <a:prstGeom prst="line">
              <a:avLst/>
            </a:prstGeom>
            <a:noFill/>
            <a:ln w="12700" cap="sq" cmpd="sng" algn="ctr">
              <a:solidFill>
                <a:schemeClr val="tx1">
                  <a:lumMod val="40000"/>
                  <a:lumOff val="60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80" name="Straight Connector 62">
              <a:extLst>
                <a:ext uri="{FF2B5EF4-FFF2-40B4-BE49-F238E27FC236}">
                  <a16:creationId xmlns:a16="http://schemas.microsoft.com/office/drawing/2014/main" id="{FA64F4D9-73F6-2765-274A-0E1DE8D784B1}"/>
                </a:ext>
              </a:extLst>
            </p:cNvPr>
            <p:cNvCxnSpPr>
              <a:cxnSpLocks/>
            </p:cNvCxnSpPr>
            <p:nvPr/>
          </p:nvCxnSpPr>
          <p:spPr>
            <a:xfrm>
              <a:off x="6092391" y="2783599"/>
              <a:ext cx="0" cy="3309226"/>
            </a:xfrm>
            <a:prstGeom prst="line">
              <a:avLst/>
            </a:prstGeom>
            <a:noFill/>
            <a:ln w="12700" cap="sq" cmpd="sng" algn="ctr">
              <a:solidFill>
                <a:schemeClr val="tx1">
                  <a:lumMod val="40000"/>
                  <a:lumOff val="60000"/>
                </a:schemeClr>
              </a:solidFill>
              <a:prstDash val="solid"/>
              <a:miter lim="800000"/>
              <a:tailEnd type="none"/>
            </a:ln>
            <a:effectLst/>
          </p:spPr>
        </p:cxnSp>
      </p:grpSp>
      <p:sp>
        <p:nvSpPr>
          <p:cNvPr id="182" name="Rectangle 1522">
            <a:extLst>
              <a:ext uri="{FF2B5EF4-FFF2-40B4-BE49-F238E27FC236}">
                <a16:creationId xmlns:a16="http://schemas.microsoft.com/office/drawing/2014/main" id="{E862B1F5-CA83-1261-FEA6-BDC5CCBD5D00}"/>
              </a:ext>
            </a:extLst>
          </p:cNvPr>
          <p:cNvSpPr>
            <a:spLocks/>
          </p:cNvSpPr>
          <p:nvPr/>
        </p:nvSpPr>
        <p:spPr>
          <a:xfrm>
            <a:off x="2314853" y="4673006"/>
            <a:ext cx="2538915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Comprobar que la </a:t>
            </a:r>
            <a:r>
              <a:rPr kumimoji="0" lang="es-ES" sz="14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query</a:t>
            </a: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este bien antes de iniciar con el Excel</a:t>
            </a:r>
          </a:p>
        </p:txBody>
      </p:sp>
      <p:sp>
        <p:nvSpPr>
          <p:cNvPr id="184" name="Rectangle 1523">
            <a:extLst>
              <a:ext uri="{FF2B5EF4-FFF2-40B4-BE49-F238E27FC236}">
                <a16:creationId xmlns:a16="http://schemas.microsoft.com/office/drawing/2014/main" id="{6069046D-AAAF-8BDB-A1B5-DBC5193E27DF}"/>
              </a:ext>
            </a:extLst>
          </p:cNvPr>
          <p:cNvSpPr/>
          <p:nvPr/>
        </p:nvSpPr>
        <p:spPr>
          <a:xfrm>
            <a:off x="4870215" y="4673006"/>
            <a:ext cx="2545352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noProof="0">
                <a:solidFill>
                  <a:prstClr val="white"/>
                </a:solidFill>
                <a:latin typeface="EYInterstate Light"/>
              </a:rPr>
              <a:t>Falta de planificación por nuestra parte </a:t>
            </a: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85" name="Rectangle 1524">
            <a:extLst>
              <a:ext uri="{FF2B5EF4-FFF2-40B4-BE49-F238E27FC236}">
                <a16:creationId xmlns:a16="http://schemas.microsoft.com/office/drawing/2014/main" id="{D7D879B9-212A-31A6-E47A-EEEAD5BC63B5}"/>
              </a:ext>
            </a:extLst>
          </p:cNvPr>
          <p:cNvSpPr>
            <a:spLocks/>
          </p:cNvSpPr>
          <p:nvPr/>
        </p:nvSpPr>
        <p:spPr>
          <a:xfrm>
            <a:off x="7424356" y="4673006"/>
            <a:ext cx="2538695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Errores en la </a:t>
            </a:r>
            <a:r>
              <a:rPr kumimoji="0" lang="es-ES" sz="14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query</a:t>
            </a: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al no entender bien lo que </a:t>
            </a:r>
            <a:r>
              <a:rPr kumimoji="0" lang="es-ES" sz="14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queria</a:t>
            </a: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representar</a:t>
            </a:r>
          </a:p>
        </p:txBody>
      </p:sp>
      <p:grpSp>
        <p:nvGrpSpPr>
          <p:cNvPr id="205" name="Group 4">
            <a:extLst>
              <a:ext uri="{FF2B5EF4-FFF2-40B4-BE49-F238E27FC236}">
                <a16:creationId xmlns:a16="http://schemas.microsoft.com/office/drawing/2014/main" id="{EF980AC5-56A5-4780-36B7-ACA10AC1136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292193" y="3562165"/>
            <a:ext cx="807308" cy="777548"/>
            <a:chOff x="-2004" y="2044"/>
            <a:chExt cx="1058" cy="1019"/>
          </a:xfrm>
          <a:solidFill>
            <a:schemeClr val="tx2"/>
          </a:solidFill>
        </p:grpSpPr>
        <p:sp>
          <p:nvSpPr>
            <p:cNvPr id="206" name="Freeform 5">
              <a:extLst>
                <a:ext uri="{FF2B5EF4-FFF2-40B4-BE49-F238E27FC236}">
                  <a16:creationId xmlns:a16="http://schemas.microsoft.com/office/drawing/2014/main" id="{10452215-8E46-5E7D-6DBB-948201F42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34" y="2698"/>
              <a:ext cx="64" cy="107"/>
            </a:xfrm>
            <a:custGeom>
              <a:avLst/>
              <a:gdLst>
                <a:gd name="T0" fmla="*/ 26 w 143"/>
                <a:gd name="T1" fmla="*/ 238 h 238"/>
                <a:gd name="T2" fmla="*/ 0 w 143"/>
                <a:gd name="T3" fmla="*/ 212 h 238"/>
                <a:gd name="T4" fmla="*/ 26 w 143"/>
                <a:gd name="T5" fmla="*/ 186 h 238"/>
                <a:gd name="T6" fmla="*/ 90 w 143"/>
                <a:gd name="T7" fmla="*/ 141 h 238"/>
                <a:gd name="T8" fmla="*/ 90 w 143"/>
                <a:gd name="T9" fmla="*/ 99 h 238"/>
                <a:gd name="T10" fmla="*/ 51 w 143"/>
                <a:gd name="T11" fmla="*/ 52 h 238"/>
                <a:gd name="T12" fmla="*/ 25 w 143"/>
                <a:gd name="T13" fmla="*/ 26 h 238"/>
                <a:gd name="T14" fmla="*/ 51 w 143"/>
                <a:gd name="T15" fmla="*/ 0 h 238"/>
                <a:gd name="T16" fmla="*/ 143 w 143"/>
                <a:gd name="T17" fmla="*/ 99 h 238"/>
                <a:gd name="T18" fmla="*/ 143 w 143"/>
                <a:gd name="T19" fmla="*/ 141 h 238"/>
                <a:gd name="T20" fmla="*/ 26 w 143"/>
                <a:gd name="T21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3" h="238">
                  <a:moveTo>
                    <a:pt x="26" y="238"/>
                  </a:moveTo>
                  <a:cubicBezTo>
                    <a:pt x="12" y="238"/>
                    <a:pt x="0" y="227"/>
                    <a:pt x="0" y="212"/>
                  </a:cubicBezTo>
                  <a:cubicBezTo>
                    <a:pt x="0" y="197"/>
                    <a:pt x="12" y="186"/>
                    <a:pt x="26" y="186"/>
                  </a:cubicBezTo>
                  <a:cubicBezTo>
                    <a:pt x="55" y="186"/>
                    <a:pt x="90" y="161"/>
                    <a:pt x="90" y="141"/>
                  </a:cubicBezTo>
                  <a:cubicBezTo>
                    <a:pt x="90" y="99"/>
                    <a:pt x="90" y="99"/>
                    <a:pt x="90" y="99"/>
                  </a:cubicBezTo>
                  <a:cubicBezTo>
                    <a:pt x="90" y="77"/>
                    <a:pt x="76" y="52"/>
                    <a:pt x="51" y="52"/>
                  </a:cubicBezTo>
                  <a:cubicBezTo>
                    <a:pt x="37" y="52"/>
                    <a:pt x="25" y="41"/>
                    <a:pt x="25" y="26"/>
                  </a:cubicBezTo>
                  <a:cubicBezTo>
                    <a:pt x="25" y="11"/>
                    <a:pt x="37" y="0"/>
                    <a:pt x="51" y="0"/>
                  </a:cubicBezTo>
                  <a:cubicBezTo>
                    <a:pt x="103" y="0"/>
                    <a:pt x="143" y="43"/>
                    <a:pt x="143" y="99"/>
                  </a:cubicBezTo>
                  <a:cubicBezTo>
                    <a:pt x="143" y="141"/>
                    <a:pt x="143" y="141"/>
                    <a:pt x="143" y="141"/>
                  </a:cubicBezTo>
                  <a:cubicBezTo>
                    <a:pt x="143" y="195"/>
                    <a:pt x="79" y="238"/>
                    <a:pt x="26" y="2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07" name="Freeform 6">
              <a:extLst>
                <a:ext uri="{FF2B5EF4-FFF2-40B4-BE49-F238E27FC236}">
                  <a16:creationId xmlns:a16="http://schemas.microsoft.com/office/drawing/2014/main" id="{E168AD6F-DCD4-78E1-5671-9180D1279BB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86" y="2611"/>
              <a:ext cx="640" cy="110"/>
            </a:xfrm>
            <a:custGeom>
              <a:avLst/>
              <a:gdLst>
                <a:gd name="T0" fmla="*/ 1288 w 1419"/>
                <a:gd name="T1" fmla="*/ 246 h 246"/>
                <a:gd name="T2" fmla="*/ 1281 w 1419"/>
                <a:gd name="T3" fmla="*/ 246 h 246"/>
                <a:gd name="T4" fmla="*/ 1275 w 1419"/>
                <a:gd name="T5" fmla="*/ 246 h 246"/>
                <a:gd name="T6" fmla="*/ 1249 w 1419"/>
                <a:gd name="T7" fmla="*/ 220 h 246"/>
                <a:gd name="T8" fmla="*/ 1275 w 1419"/>
                <a:gd name="T9" fmla="*/ 194 h 246"/>
                <a:gd name="T10" fmla="*/ 1281 w 1419"/>
                <a:gd name="T11" fmla="*/ 194 h 246"/>
                <a:gd name="T12" fmla="*/ 1356 w 1419"/>
                <a:gd name="T13" fmla="*/ 178 h 246"/>
                <a:gd name="T14" fmla="*/ 1366 w 1419"/>
                <a:gd name="T15" fmla="*/ 147 h 246"/>
                <a:gd name="T16" fmla="*/ 1366 w 1419"/>
                <a:gd name="T17" fmla="*/ 105 h 246"/>
                <a:gd name="T18" fmla="*/ 1356 w 1419"/>
                <a:gd name="T19" fmla="*/ 70 h 246"/>
                <a:gd name="T20" fmla="*/ 1304 w 1419"/>
                <a:gd name="T21" fmla="*/ 61 h 246"/>
                <a:gd name="T22" fmla="*/ 1292 w 1419"/>
                <a:gd name="T23" fmla="*/ 61 h 246"/>
                <a:gd name="T24" fmla="*/ 1015 w 1419"/>
                <a:gd name="T25" fmla="*/ 61 h 246"/>
                <a:gd name="T26" fmla="*/ 544 w 1419"/>
                <a:gd name="T27" fmla="*/ 146 h 246"/>
                <a:gd name="T28" fmla="*/ 175 w 1419"/>
                <a:gd name="T29" fmla="*/ 216 h 246"/>
                <a:gd name="T30" fmla="*/ 27 w 1419"/>
                <a:gd name="T31" fmla="*/ 216 h 246"/>
                <a:gd name="T32" fmla="*/ 0 w 1419"/>
                <a:gd name="T33" fmla="*/ 189 h 246"/>
                <a:gd name="T34" fmla="*/ 27 w 1419"/>
                <a:gd name="T35" fmla="*/ 163 h 246"/>
                <a:gd name="T36" fmla="*/ 174 w 1419"/>
                <a:gd name="T37" fmla="*/ 163 h 246"/>
                <a:gd name="T38" fmla="*/ 521 w 1419"/>
                <a:gd name="T39" fmla="*/ 98 h 246"/>
                <a:gd name="T40" fmla="*/ 1016 w 1419"/>
                <a:gd name="T41" fmla="*/ 8 h 246"/>
                <a:gd name="T42" fmla="*/ 1303 w 1419"/>
                <a:gd name="T43" fmla="*/ 8 h 246"/>
                <a:gd name="T44" fmla="*/ 1393 w 1419"/>
                <a:gd name="T45" fmla="*/ 32 h 246"/>
                <a:gd name="T46" fmla="*/ 1419 w 1419"/>
                <a:gd name="T47" fmla="*/ 105 h 246"/>
                <a:gd name="T48" fmla="*/ 1419 w 1419"/>
                <a:gd name="T49" fmla="*/ 147 h 246"/>
                <a:gd name="T50" fmla="*/ 1393 w 1419"/>
                <a:gd name="T51" fmla="*/ 216 h 246"/>
                <a:gd name="T52" fmla="*/ 1288 w 1419"/>
                <a:gd name="T53" fmla="*/ 24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19" h="246">
                  <a:moveTo>
                    <a:pt x="1288" y="246"/>
                  </a:moveTo>
                  <a:cubicBezTo>
                    <a:pt x="1285" y="246"/>
                    <a:pt x="1283" y="246"/>
                    <a:pt x="1281" y="246"/>
                  </a:cubicBezTo>
                  <a:cubicBezTo>
                    <a:pt x="1275" y="246"/>
                    <a:pt x="1275" y="246"/>
                    <a:pt x="1275" y="246"/>
                  </a:cubicBezTo>
                  <a:cubicBezTo>
                    <a:pt x="1261" y="246"/>
                    <a:pt x="1249" y="235"/>
                    <a:pt x="1249" y="220"/>
                  </a:cubicBezTo>
                  <a:cubicBezTo>
                    <a:pt x="1249" y="205"/>
                    <a:pt x="1261" y="194"/>
                    <a:pt x="1275" y="194"/>
                  </a:cubicBezTo>
                  <a:cubicBezTo>
                    <a:pt x="1281" y="194"/>
                    <a:pt x="1281" y="194"/>
                    <a:pt x="1281" y="194"/>
                  </a:cubicBezTo>
                  <a:cubicBezTo>
                    <a:pt x="1304" y="194"/>
                    <a:pt x="1340" y="194"/>
                    <a:pt x="1356" y="178"/>
                  </a:cubicBezTo>
                  <a:cubicBezTo>
                    <a:pt x="1363" y="171"/>
                    <a:pt x="1366" y="161"/>
                    <a:pt x="1366" y="147"/>
                  </a:cubicBezTo>
                  <a:cubicBezTo>
                    <a:pt x="1366" y="105"/>
                    <a:pt x="1366" y="105"/>
                    <a:pt x="1366" y="105"/>
                  </a:cubicBezTo>
                  <a:cubicBezTo>
                    <a:pt x="1366" y="88"/>
                    <a:pt x="1363" y="76"/>
                    <a:pt x="1356" y="70"/>
                  </a:cubicBezTo>
                  <a:cubicBezTo>
                    <a:pt x="1346" y="60"/>
                    <a:pt x="1323" y="60"/>
                    <a:pt x="1304" y="61"/>
                  </a:cubicBezTo>
                  <a:cubicBezTo>
                    <a:pt x="1292" y="61"/>
                    <a:pt x="1292" y="61"/>
                    <a:pt x="1292" y="61"/>
                  </a:cubicBezTo>
                  <a:cubicBezTo>
                    <a:pt x="1015" y="61"/>
                    <a:pt x="1015" y="61"/>
                    <a:pt x="1015" y="61"/>
                  </a:cubicBezTo>
                  <a:cubicBezTo>
                    <a:pt x="1011" y="61"/>
                    <a:pt x="737" y="53"/>
                    <a:pt x="544" y="146"/>
                  </a:cubicBezTo>
                  <a:cubicBezTo>
                    <a:pt x="414" y="208"/>
                    <a:pt x="184" y="215"/>
                    <a:pt x="175" y="216"/>
                  </a:cubicBezTo>
                  <a:cubicBezTo>
                    <a:pt x="27" y="216"/>
                    <a:pt x="27" y="216"/>
                    <a:pt x="27" y="216"/>
                  </a:cubicBezTo>
                  <a:cubicBezTo>
                    <a:pt x="12" y="216"/>
                    <a:pt x="0" y="204"/>
                    <a:pt x="0" y="189"/>
                  </a:cubicBezTo>
                  <a:cubicBezTo>
                    <a:pt x="0" y="175"/>
                    <a:pt x="12" y="163"/>
                    <a:pt x="27" y="163"/>
                  </a:cubicBezTo>
                  <a:cubicBezTo>
                    <a:pt x="174" y="163"/>
                    <a:pt x="174" y="163"/>
                    <a:pt x="174" y="163"/>
                  </a:cubicBezTo>
                  <a:cubicBezTo>
                    <a:pt x="175" y="163"/>
                    <a:pt x="402" y="156"/>
                    <a:pt x="521" y="98"/>
                  </a:cubicBezTo>
                  <a:cubicBezTo>
                    <a:pt x="726" y="0"/>
                    <a:pt x="1004" y="8"/>
                    <a:pt x="1016" y="8"/>
                  </a:cubicBezTo>
                  <a:cubicBezTo>
                    <a:pt x="1303" y="8"/>
                    <a:pt x="1303" y="8"/>
                    <a:pt x="1303" y="8"/>
                  </a:cubicBezTo>
                  <a:cubicBezTo>
                    <a:pt x="1330" y="8"/>
                    <a:pt x="1367" y="7"/>
                    <a:pt x="1393" y="32"/>
                  </a:cubicBezTo>
                  <a:cubicBezTo>
                    <a:pt x="1410" y="49"/>
                    <a:pt x="1419" y="74"/>
                    <a:pt x="1419" y="105"/>
                  </a:cubicBezTo>
                  <a:cubicBezTo>
                    <a:pt x="1419" y="147"/>
                    <a:pt x="1419" y="147"/>
                    <a:pt x="1419" y="147"/>
                  </a:cubicBezTo>
                  <a:cubicBezTo>
                    <a:pt x="1419" y="175"/>
                    <a:pt x="1410" y="199"/>
                    <a:pt x="1393" y="216"/>
                  </a:cubicBezTo>
                  <a:cubicBezTo>
                    <a:pt x="1364" y="245"/>
                    <a:pt x="1318" y="246"/>
                    <a:pt x="1288" y="2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08" name="Freeform 7">
              <a:extLst>
                <a:ext uri="{FF2B5EF4-FFF2-40B4-BE49-F238E27FC236}">
                  <a16:creationId xmlns:a16="http://schemas.microsoft.com/office/drawing/2014/main" id="{15AA6060-4FE7-48A9-AC5D-F5ECC4FEE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61" y="2781"/>
              <a:ext cx="579" cy="195"/>
            </a:xfrm>
            <a:custGeom>
              <a:avLst/>
              <a:gdLst>
                <a:gd name="T0" fmla="*/ 830 w 1283"/>
                <a:gd name="T1" fmla="*/ 433 h 433"/>
                <a:gd name="T2" fmla="*/ 114 w 1283"/>
                <a:gd name="T3" fmla="*/ 364 h 433"/>
                <a:gd name="T4" fmla="*/ 26 w 1283"/>
                <a:gd name="T5" fmla="*/ 364 h 433"/>
                <a:gd name="T6" fmla="*/ 0 w 1283"/>
                <a:gd name="T7" fmla="*/ 337 h 433"/>
                <a:gd name="T8" fmla="*/ 26 w 1283"/>
                <a:gd name="T9" fmla="*/ 311 h 433"/>
                <a:gd name="T10" fmla="*/ 117 w 1283"/>
                <a:gd name="T11" fmla="*/ 311 h 433"/>
                <a:gd name="T12" fmla="*/ 123 w 1283"/>
                <a:gd name="T13" fmla="*/ 312 h 433"/>
                <a:gd name="T14" fmla="*/ 1129 w 1283"/>
                <a:gd name="T15" fmla="*/ 371 h 433"/>
                <a:gd name="T16" fmla="*/ 1137 w 1283"/>
                <a:gd name="T17" fmla="*/ 371 h 433"/>
                <a:gd name="T18" fmla="*/ 1182 w 1283"/>
                <a:gd name="T19" fmla="*/ 327 h 433"/>
                <a:gd name="T20" fmla="*/ 1182 w 1283"/>
                <a:gd name="T21" fmla="*/ 285 h 433"/>
                <a:gd name="T22" fmla="*/ 1139 w 1283"/>
                <a:gd name="T23" fmla="*/ 241 h 433"/>
                <a:gd name="T24" fmla="*/ 1137 w 1283"/>
                <a:gd name="T25" fmla="*/ 241 h 433"/>
                <a:gd name="T26" fmla="*/ 1111 w 1283"/>
                <a:gd name="T27" fmla="*/ 214 h 433"/>
                <a:gd name="T28" fmla="*/ 1140 w 1283"/>
                <a:gd name="T29" fmla="*/ 188 h 433"/>
                <a:gd name="T30" fmla="*/ 1186 w 1283"/>
                <a:gd name="T31" fmla="*/ 189 h 433"/>
                <a:gd name="T32" fmla="*/ 1230 w 1283"/>
                <a:gd name="T33" fmla="*/ 139 h 433"/>
                <a:gd name="T34" fmla="*/ 1230 w 1283"/>
                <a:gd name="T35" fmla="*/ 97 h 433"/>
                <a:gd name="T36" fmla="*/ 1193 w 1283"/>
                <a:gd name="T37" fmla="*/ 52 h 433"/>
                <a:gd name="T38" fmla="*/ 1167 w 1283"/>
                <a:gd name="T39" fmla="*/ 26 h 433"/>
                <a:gd name="T40" fmla="*/ 1193 w 1283"/>
                <a:gd name="T41" fmla="*/ 0 h 433"/>
                <a:gd name="T42" fmla="*/ 1283 w 1283"/>
                <a:gd name="T43" fmla="*/ 97 h 433"/>
                <a:gd name="T44" fmla="*/ 1283 w 1283"/>
                <a:gd name="T45" fmla="*/ 139 h 433"/>
                <a:gd name="T46" fmla="*/ 1220 w 1283"/>
                <a:gd name="T47" fmla="*/ 234 h 433"/>
                <a:gd name="T48" fmla="*/ 1235 w 1283"/>
                <a:gd name="T49" fmla="*/ 285 h 433"/>
                <a:gd name="T50" fmla="*/ 1235 w 1283"/>
                <a:gd name="T51" fmla="*/ 327 h 433"/>
                <a:gd name="T52" fmla="*/ 1137 w 1283"/>
                <a:gd name="T53" fmla="*/ 424 h 433"/>
                <a:gd name="T54" fmla="*/ 1131 w 1283"/>
                <a:gd name="T55" fmla="*/ 424 h 433"/>
                <a:gd name="T56" fmla="*/ 830 w 1283"/>
                <a:gd name="T57" fmla="*/ 433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83" h="433">
                  <a:moveTo>
                    <a:pt x="830" y="433"/>
                  </a:moveTo>
                  <a:cubicBezTo>
                    <a:pt x="624" y="433"/>
                    <a:pt x="348" y="420"/>
                    <a:pt x="114" y="364"/>
                  </a:cubicBezTo>
                  <a:cubicBezTo>
                    <a:pt x="26" y="364"/>
                    <a:pt x="26" y="364"/>
                    <a:pt x="26" y="364"/>
                  </a:cubicBezTo>
                  <a:cubicBezTo>
                    <a:pt x="11" y="364"/>
                    <a:pt x="0" y="352"/>
                    <a:pt x="0" y="337"/>
                  </a:cubicBezTo>
                  <a:cubicBezTo>
                    <a:pt x="0" y="323"/>
                    <a:pt x="11" y="311"/>
                    <a:pt x="26" y="311"/>
                  </a:cubicBezTo>
                  <a:cubicBezTo>
                    <a:pt x="117" y="311"/>
                    <a:pt x="117" y="311"/>
                    <a:pt x="117" y="311"/>
                  </a:cubicBezTo>
                  <a:cubicBezTo>
                    <a:pt x="119" y="311"/>
                    <a:pt x="121" y="311"/>
                    <a:pt x="123" y="312"/>
                  </a:cubicBezTo>
                  <a:cubicBezTo>
                    <a:pt x="549" y="415"/>
                    <a:pt x="1124" y="371"/>
                    <a:pt x="1129" y="371"/>
                  </a:cubicBezTo>
                  <a:cubicBezTo>
                    <a:pt x="1137" y="371"/>
                    <a:pt x="1137" y="371"/>
                    <a:pt x="1137" y="371"/>
                  </a:cubicBezTo>
                  <a:cubicBezTo>
                    <a:pt x="1162" y="371"/>
                    <a:pt x="1182" y="351"/>
                    <a:pt x="1182" y="327"/>
                  </a:cubicBezTo>
                  <a:cubicBezTo>
                    <a:pt x="1182" y="285"/>
                    <a:pt x="1182" y="285"/>
                    <a:pt x="1182" y="285"/>
                  </a:cubicBezTo>
                  <a:cubicBezTo>
                    <a:pt x="1182" y="261"/>
                    <a:pt x="1163" y="242"/>
                    <a:pt x="1139" y="241"/>
                  </a:cubicBezTo>
                  <a:cubicBezTo>
                    <a:pt x="1137" y="241"/>
                    <a:pt x="1137" y="241"/>
                    <a:pt x="1137" y="241"/>
                  </a:cubicBezTo>
                  <a:cubicBezTo>
                    <a:pt x="1123" y="241"/>
                    <a:pt x="1111" y="229"/>
                    <a:pt x="1111" y="214"/>
                  </a:cubicBezTo>
                  <a:cubicBezTo>
                    <a:pt x="1111" y="199"/>
                    <a:pt x="1125" y="188"/>
                    <a:pt x="1140" y="188"/>
                  </a:cubicBezTo>
                  <a:cubicBezTo>
                    <a:pt x="1186" y="189"/>
                    <a:pt x="1186" y="189"/>
                    <a:pt x="1186" y="189"/>
                  </a:cubicBezTo>
                  <a:cubicBezTo>
                    <a:pt x="1208" y="189"/>
                    <a:pt x="1230" y="165"/>
                    <a:pt x="1230" y="139"/>
                  </a:cubicBezTo>
                  <a:cubicBezTo>
                    <a:pt x="1230" y="97"/>
                    <a:pt x="1230" y="97"/>
                    <a:pt x="1230" y="97"/>
                  </a:cubicBezTo>
                  <a:cubicBezTo>
                    <a:pt x="1230" y="75"/>
                    <a:pt x="1219" y="52"/>
                    <a:pt x="1193" y="52"/>
                  </a:cubicBezTo>
                  <a:cubicBezTo>
                    <a:pt x="1179" y="52"/>
                    <a:pt x="1167" y="41"/>
                    <a:pt x="1167" y="26"/>
                  </a:cubicBezTo>
                  <a:cubicBezTo>
                    <a:pt x="1167" y="11"/>
                    <a:pt x="1179" y="0"/>
                    <a:pt x="1193" y="0"/>
                  </a:cubicBezTo>
                  <a:cubicBezTo>
                    <a:pt x="1245" y="0"/>
                    <a:pt x="1283" y="41"/>
                    <a:pt x="1283" y="97"/>
                  </a:cubicBezTo>
                  <a:cubicBezTo>
                    <a:pt x="1283" y="139"/>
                    <a:pt x="1283" y="139"/>
                    <a:pt x="1283" y="139"/>
                  </a:cubicBezTo>
                  <a:cubicBezTo>
                    <a:pt x="1283" y="181"/>
                    <a:pt x="1256" y="219"/>
                    <a:pt x="1220" y="234"/>
                  </a:cubicBezTo>
                  <a:cubicBezTo>
                    <a:pt x="1229" y="249"/>
                    <a:pt x="1235" y="267"/>
                    <a:pt x="1235" y="285"/>
                  </a:cubicBezTo>
                  <a:cubicBezTo>
                    <a:pt x="1235" y="327"/>
                    <a:pt x="1235" y="327"/>
                    <a:pt x="1235" y="327"/>
                  </a:cubicBezTo>
                  <a:cubicBezTo>
                    <a:pt x="1235" y="380"/>
                    <a:pt x="1191" y="424"/>
                    <a:pt x="1137" y="424"/>
                  </a:cubicBezTo>
                  <a:cubicBezTo>
                    <a:pt x="1131" y="424"/>
                    <a:pt x="1131" y="424"/>
                    <a:pt x="1131" y="424"/>
                  </a:cubicBezTo>
                  <a:cubicBezTo>
                    <a:pt x="1130" y="424"/>
                    <a:pt x="1006" y="433"/>
                    <a:pt x="830" y="4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09" name="Freeform 8">
              <a:extLst>
                <a:ext uri="{FF2B5EF4-FFF2-40B4-BE49-F238E27FC236}">
                  <a16:creationId xmlns:a16="http://schemas.microsoft.com/office/drawing/2014/main" id="{58AC1EEB-47D5-0CFD-F0D5-009505950A9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14" y="2067"/>
              <a:ext cx="108" cy="64"/>
            </a:xfrm>
            <a:custGeom>
              <a:avLst/>
              <a:gdLst>
                <a:gd name="T0" fmla="*/ 212 w 239"/>
                <a:gd name="T1" fmla="*/ 143 h 143"/>
                <a:gd name="T2" fmla="*/ 186 w 239"/>
                <a:gd name="T3" fmla="*/ 116 h 143"/>
                <a:gd name="T4" fmla="*/ 141 w 239"/>
                <a:gd name="T5" fmla="*/ 53 h 143"/>
                <a:gd name="T6" fmla="*/ 99 w 239"/>
                <a:gd name="T7" fmla="*/ 53 h 143"/>
                <a:gd name="T8" fmla="*/ 53 w 239"/>
                <a:gd name="T9" fmla="*/ 91 h 143"/>
                <a:gd name="T10" fmla="*/ 26 w 239"/>
                <a:gd name="T11" fmla="*/ 118 h 143"/>
                <a:gd name="T12" fmla="*/ 0 w 239"/>
                <a:gd name="T13" fmla="*/ 91 h 143"/>
                <a:gd name="T14" fmla="*/ 99 w 239"/>
                <a:gd name="T15" fmla="*/ 0 h 143"/>
                <a:gd name="T16" fmla="*/ 141 w 239"/>
                <a:gd name="T17" fmla="*/ 0 h 143"/>
                <a:gd name="T18" fmla="*/ 239 w 239"/>
                <a:gd name="T19" fmla="*/ 116 h 143"/>
                <a:gd name="T20" fmla="*/ 212 w 239"/>
                <a:gd name="T21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9" h="143">
                  <a:moveTo>
                    <a:pt x="212" y="143"/>
                  </a:moveTo>
                  <a:cubicBezTo>
                    <a:pt x="198" y="143"/>
                    <a:pt x="186" y="131"/>
                    <a:pt x="186" y="116"/>
                  </a:cubicBezTo>
                  <a:cubicBezTo>
                    <a:pt x="186" y="88"/>
                    <a:pt x="161" y="53"/>
                    <a:pt x="141" y="53"/>
                  </a:cubicBezTo>
                  <a:cubicBezTo>
                    <a:pt x="99" y="53"/>
                    <a:pt x="99" y="53"/>
                    <a:pt x="99" y="53"/>
                  </a:cubicBezTo>
                  <a:cubicBezTo>
                    <a:pt x="77" y="53"/>
                    <a:pt x="53" y="66"/>
                    <a:pt x="53" y="91"/>
                  </a:cubicBezTo>
                  <a:cubicBezTo>
                    <a:pt x="53" y="106"/>
                    <a:pt x="41" y="118"/>
                    <a:pt x="26" y="118"/>
                  </a:cubicBezTo>
                  <a:cubicBezTo>
                    <a:pt x="12" y="118"/>
                    <a:pt x="0" y="106"/>
                    <a:pt x="0" y="91"/>
                  </a:cubicBezTo>
                  <a:cubicBezTo>
                    <a:pt x="0" y="40"/>
                    <a:pt x="43" y="0"/>
                    <a:pt x="99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95" y="0"/>
                    <a:pt x="239" y="63"/>
                    <a:pt x="239" y="116"/>
                  </a:cubicBezTo>
                  <a:cubicBezTo>
                    <a:pt x="239" y="131"/>
                    <a:pt x="227" y="143"/>
                    <a:pt x="212" y="1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10" name="Freeform 9">
              <a:extLst>
                <a:ext uri="{FF2B5EF4-FFF2-40B4-BE49-F238E27FC236}">
                  <a16:creationId xmlns:a16="http://schemas.microsoft.com/office/drawing/2014/main" id="{FB0D3610-5CAC-A48D-9BDB-20DA4A56C98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01" y="2044"/>
              <a:ext cx="111" cy="619"/>
            </a:xfrm>
            <a:custGeom>
              <a:avLst/>
              <a:gdLst>
                <a:gd name="T0" fmla="*/ 189 w 247"/>
                <a:gd name="T1" fmla="*/ 1379 h 1379"/>
                <a:gd name="T2" fmla="*/ 163 w 247"/>
                <a:gd name="T3" fmla="*/ 1352 h 1379"/>
                <a:gd name="T4" fmla="*/ 163 w 247"/>
                <a:gd name="T5" fmla="*/ 1245 h 1379"/>
                <a:gd name="T6" fmla="*/ 99 w 247"/>
                <a:gd name="T7" fmla="*/ 898 h 1379"/>
                <a:gd name="T8" fmla="*/ 8 w 247"/>
                <a:gd name="T9" fmla="*/ 403 h 1379"/>
                <a:gd name="T10" fmla="*/ 8 w 247"/>
                <a:gd name="T11" fmla="*/ 116 h 1379"/>
                <a:gd name="T12" fmla="*/ 33 w 247"/>
                <a:gd name="T13" fmla="*/ 25 h 1379"/>
                <a:gd name="T14" fmla="*/ 105 w 247"/>
                <a:gd name="T15" fmla="*/ 0 h 1379"/>
                <a:gd name="T16" fmla="*/ 147 w 247"/>
                <a:gd name="T17" fmla="*/ 0 h 1379"/>
                <a:gd name="T18" fmla="*/ 216 w 247"/>
                <a:gd name="T19" fmla="*/ 26 h 1379"/>
                <a:gd name="T20" fmla="*/ 247 w 247"/>
                <a:gd name="T21" fmla="*/ 138 h 1379"/>
                <a:gd name="T22" fmla="*/ 247 w 247"/>
                <a:gd name="T23" fmla="*/ 143 h 1379"/>
                <a:gd name="T24" fmla="*/ 220 w 247"/>
                <a:gd name="T25" fmla="*/ 170 h 1379"/>
                <a:gd name="T26" fmla="*/ 194 w 247"/>
                <a:gd name="T27" fmla="*/ 143 h 1379"/>
                <a:gd name="T28" fmla="*/ 194 w 247"/>
                <a:gd name="T29" fmla="*/ 137 h 1379"/>
                <a:gd name="T30" fmla="*/ 178 w 247"/>
                <a:gd name="T31" fmla="*/ 63 h 1379"/>
                <a:gd name="T32" fmla="*/ 147 w 247"/>
                <a:gd name="T33" fmla="*/ 53 h 1379"/>
                <a:gd name="T34" fmla="*/ 105 w 247"/>
                <a:gd name="T35" fmla="*/ 53 h 1379"/>
                <a:gd name="T36" fmla="*/ 70 w 247"/>
                <a:gd name="T37" fmla="*/ 62 h 1379"/>
                <a:gd name="T38" fmla="*/ 61 w 247"/>
                <a:gd name="T39" fmla="*/ 115 h 1379"/>
                <a:gd name="T40" fmla="*/ 61 w 247"/>
                <a:gd name="T41" fmla="*/ 126 h 1379"/>
                <a:gd name="T42" fmla="*/ 61 w 247"/>
                <a:gd name="T43" fmla="*/ 404 h 1379"/>
                <a:gd name="T44" fmla="*/ 146 w 247"/>
                <a:gd name="T45" fmla="*/ 875 h 1379"/>
                <a:gd name="T46" fmla="*/ 216 w 247"/>
                <a:gd name="T47" fmla="*/ 1244 h 1379"/>
                <a:gd name="T48" fmla="*/ 216 w 247"/>
                <a:gd name="T49" fmla="*/ 1352 h 1379"/>
                <a:gd name="T50" fmla="*/ 189 w 247"/>
                <a:gd name="T51" fmla="*/ 1379 h 1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7" h="1379">
                  <a:moveTo>
                    <a:pt x="189" y="1379"/>
                  </a:moveTo>
                  <a:cubicBezTo>
                    <a:pt x="175" y="1379"/>
                    <a:pt x="163" y="1367"/>
                    <a:pt x="163" y="1352"/>
                  </a:cubicBezTo>
                  <a:cubicBezTo>
                    <a:pt x="163" y="1245"/>
                    <a:pt x="163" y="1245"/>
                    <a:pt x="163" y="1245"/>
                  </a:cubicBezTo>
                  <a:cubicBezTo>
                    <a:pt x="163" y="1243"/>
                    <a:pt x="156" y="1017"/>
                    <a:pt x="99" y="898"/>
                  </a:cubicBezTo>
                  <a:cubicBezTo>
                    <a:pt x="0" y="693"/>
                    <a:pt x="8" y="415"/>
                    <a:pt x="8" y="403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8" y="89"/>
                    <a:pt x="7" y="52"/>
                    <a:pt x="33" y="25"/>
                  </a:cubicBezTo>
                  <a:cubicBezTo>
                    <a:pt x="49" y="8"/>
                    <a:pt x="74" y="0"/>
                    <a:pt x="105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76" y="0"/>
                    <a:pt x="199" y="9"/>
                    <a:pt x="216" y="26"/>
                  </a:cubicBezTo>
                  <a:cubicBezTo>
                    <a:pt x="247" y="57"/>
                    <a:pt x="247" y="108"/>
                    <a:pt x="247" y="138"/>
                  </a:cubicBezTo>
                  <a:cubicBezTo>
                    <a:pt x="247" y="143"/>
                    <a:pt x="247" y="143"/>
                    <a:pt x="247" y="143"/>
                  </a:cubicBezTo>
                  <a:cubicBezTo>
                    <a:pt x="247" y="158"/>
                    <a:pt x="235" y="170"/>
                    <a:pt x="220" y="170"/>
                  </a:cubicBezTo>
                  <a:cubicBezTo>
                    <a:pt x="206" y="170"/>
                    <a:pt x="194" y="158"/>
                    <a:pt x="194" y="143"/>
                  </a:cubicBezTo>
                  <a:cubicBezTo>
                    <a:pt x="194" y="137"/>
                    <a:pt x="194" y="137"/>
                    <a:pt x="194" y="137"/>
                  </a:cubicBezTo>
                  <a:cubicBezTo>
                    <a:pt x="194" y="114"/>
                    <a:pt x="194" y="79"/>
                    <a:pt x="178" y="63"/>
                  </a:cubicBezTo>
                  <a:cubicBezTo>
                    <a:pt x="171" y="56"/>
                    <a:pt x="161" y="53"/>
                    <a:pt x="147" y="53"/>
                  </a:cubicBezTo>
                  <a:cubicBezTo>
                    <a:pt x="105" y="53"/>
                    <a:pt x="105" y="53"/>
                    <a:pt x="105" y="53"/>
                  </a:cubicBezTo>
                  <a:cubicBezTo>
                    <a:pt x="88" y="53"/>
                    <a:pt x="77" y="56"/>
                    <a:pt x="70" y="62"/>
                  </a:cubicBezTo>
                  <a:cubicBezTo>
                    <a:pt x="60" y="73"/>
                    <a:pt x="61" y="95"/>
                    <a:pt x="61" y="115"/>
                  </a:cubicBezTo>
                  <a:cubicBezTo>
                    <a:pt x="61" y="126"/>
                    <a:pt x="61" y="126"/>
                    <a:pt x="61" y="126"/>
                  </a:cubicBezTo>
                  <a:cubicBezTo>
                    <a:pt x="61" y="404"/>
                    <a:pt x="61" y="404"/>
                    <a:pt x="61" y="404"/>
                  </a:cubicBezTo>
                  <a:cubicBezTo>
                    <a:pt x="61" y="407"/>
                    <a:pt x="53" y="682"/>
                    <a:pt x="146" y="875"/>
                  </a:cubicBezTo>
                  <a:cubicBezTo>
                    <a:pt x="209" y="1004"/>
                    <a:pt x="215" y="1234"/>
                    <a:pt x="216" y="1244"/>
                  </a:cubicBezTo>
                  <a:cubicBezTo>
                    <a:pt x="216" y="1352"/>
                    <a:pt x="216" y="1352"/>
                    <a:pt x="216" y="1352"/>
                  </a:cubicBezTo>
                  <a:cubicBezTo>
                    <a:pt x="216" y="1367"/>
                    <a:pt x="204" y="1379"/>
                    <a:pt x="189" y="13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11" name="Freeform 10">
              <a:extLst>
                <a:ext uri="{FF2B5EF4-FFF2-40B4-BE49-F238E27FC236}">
                  <a16:creationId xmlns:a16="http://schemas.microsoft.com/office/drawing/2014/main" id="{DC7753C4-39A3-C49C-23E9-F01D83388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30" y="2079"/>
              <a:ext cx="211" cy="558"/>
            </a:xfrm>
            <a:custGeom>
              <a:avLst/>
              <a:gdLst>
                <a:gd name="T0" fmla="*/ 337 w 469"/>
                <a:gd name="T1" fmla="*/ 1241 h 1241"/>
                <a:gd name="T2" fmla="*/ 311 w 469"/>
                <a:gd name="T3" fmla="*/ 1215 h 1241"/>
                <a:gd name="T4" fmla="*/ 311 w 469"/>
                <a:gd name="T5" fmla="*/ 1166 h 1241"/>
                <a:gd name="T6" fmla="*/ 312 w 469"/>
                <a:gd name="T7" fmla="*/ 1160 h 1241"/>
                <a:gd name="T8" fmla="*/ 371 w 469"/>
                <a:gd name="T9" fmla="*/ 153 h 1241"/>
                <a:gd name="T10" fmla="*/ 371 w 469"/>
                <a:gd name="T11" fmla="*/ 145 h 1241"/>
                <a:gd name="T12" fmla="*/ 327 w 469"/>
                <a:gd name="T13" fmla="*/ 101 h 1241"/>
                <a:gd name="T14" fmla="*/ 285 w 469"/>
                <a:gd name="T15" fmla="*/ 101 h 1241"/>
                <a:gd name="T16" fmla="*/ 241 w 469"/>
                <a:gd name="T17" fmla="*/ 144 h 1241"/>
                <a:gd name="T18" fmla="*/ 241 w 469"/>
                <a:gd name="T19" fmla="*/ 146 h 1241"/>
                <a:gd name="T20" fmla="*/ 215 w 469"/>
                <a:gd name="T21" fmla="*/ 172 h 1241"/>
                <a:gd name="T22" fmla="*/ 215 w 469"/>
                <a:gd name="T23" fmla="*/ 172 h 1241"/>
                <a:gd name="T24" fmla="*/ 188 w 469"/>
                <a:gd name="T25" fmla="*/ 145 h 1241"/>
                <a:gd name="T26" fmla="*/ 188 w 469"/>
                <a:gd name="T27" fmla="*/ 142 h 1241"/>
                <a:gd name="T28" fmla="*/ 189 w 469"/>
                <a:gd name="T29" fmla="*/ 97 h 1241"/>
                <a:gd name="T30" fmla="*/ 139 w 469"/>
                <a:gd name="T31" fmla="*/ 53 h 1241"/>
                <a:gd name="T32" fmla="*/ 97 w 469"/>
                <a:gd name="T33" fmla="*/ 53 h 1241"/>
                <a:gd name="T34" fmla="*/ 53 w 469"/>
                <a:gd name="T35" fmla="*/ 89 h 1241"/>
                <a:gd name="T36" fmla="*/ 26 w 469"/>
                <a:gd name="T37" fmla="*/ 116 h 1241"/>
                <a:gd name="T38" fmla="*/ 0 w 469"/>
                <a:gd name="T39" fmla="*/ 89 h 1241"/>
                <a:gd name="T40" fmla="*/ 97 w 469"/>
                <a:gd name="T41" fmla="*/ 0 h 1241"/>
                <a:gd name="T42" fmla="*/ 139 w 469"/>
                <a:gd name="T43" fmla="*/ 0 h 1241"/>
                <a:gd name="T44" fmla="*/ 235 w 469"/>
                <a:gd name="T45" fmla="*/ 62 h 1241"/>
                <a:gd name="T46" fmla="*/ 285 w 469"/>
                <a:gd name="T47" fmla="*/ 48 h 1241"/>
                <a:gd name="T48" fmla="*/ 327 w 469"/>
                <a:gd name="T49" fmla="*/ 48 h 1241"/>
                <a:gd name="T50" fmla="*/ 424 w 469"/>
                <a:gd name="T51" fmla="*/ 145 h 1241"/>
                <a:gd name="T52" fmla="*/ 424 w 469"/>
                <a:gd name="T53" fmla="*/ 151 h 1241"/>
                <a:gd name="T54" fmla="*/ 364 w 469"/>
                <a:gd name="T55" fmla="*/ 1169 h 1241"/>
                <a:gd name="T56" fmla="*/ 364 w 469"/>
                <a:gd name="T57" fmla="*/ 1215 h 1241"/>
                <a:gd name="T58" fmla="*/ 337 w 469"/>
                <a:gd name="T59" fmla="*/ 1241 h 1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69" h="1241">
                  <a:moveTo>
                    <a:pt x="337" y="1241"/>
                  </a:moveTo>
                  <a:cubicBezTo>
                    <a:pt x="323" y="1241"/>
                    <a:pt x="311" y="1229"/>
                    <a:pt x="311" y="1215"/>
                  </a:cubicBezTo>
                  <a:cubicBezTo>
                    <a:pt x="311" y="1166"/>
                    <a:pt x="311" y="1166"/>
                    <a:pt x="311" y="1166"/>
                  </a:cubicBezTo>
                  <a:cubicBezTo>
                    <a:pt x="311" y="1164"/>
                    <a:pt x="311" y="1162"/>
                    <a:pt x="312" y="1160"/>
                  </a:cubicBezTo>
                  <a:cubicBezTo>
                    <a:pt x="415" y="734"/>
                    <a:pt x="371" y="159"/>
                    <a:pt x="371" y="153"/>
                  </a:cubicBezTo>
                  <a:cubicBezTo>
                    <a:pt x="371" y="145"/>
                    <a:pt x="371" y="145"/>
                    <a:pt x="371" y="145"/>
                  </a:cubicBezTo>
                  <a:cubicBezTo>
                    <a:pt x="371" y="121"/>
                    <a:pt x="351" y="101"/>
                    <a:pt x="327" y="101"/>
                  </a:cubicBezTo>
                  <a:cubicBezTo>
                    <a:pt x="285" y="101"/>
                    <a:pt x="285" y="101"/>
                    <a:pt x="285" y="101"/>
                  </a:cubicBezTo>
                  <a:cubicBezTo>
                    <a:pt x="261" y="101"/>
                    <a:pt x="242" y="120"/>
                    <a:pt x="241" y="144"/>
                  </a:cubicBezTo>
                  <a:cubicBezTo>
                    <a:pt x="241" y="146"/>
                    <a:pt x="241" y="146"/>
                    <a:pt x="241" y="146"/>
                  </a:cubicBezTo>
                  <a:cubicBezTo>
                    <a:pt x="241" y="160"/>
                    <a:pt x="229" y="172"/>
                    <a:pt x="215" y="172"/>
                  </a:cubicBezTo>
                  <a:cubicBezTo>
                    <a:pt x="215" y="172"/>
                    <a:pt x="215" y="172"/>
                    <a:pt x="215" y="172"/>
                  </a:cubicBezTo>
                  <a:cubicBezTo>
                    <a:pt x="200" y="171"/>
                    <a:pt x="188" y="160"/>
                    <a:pt x="188" y="145"/>
                  </a:cubicBezTo>
                  <a:cubicBezTo>
                    <a:pt x="188" y="144"/>
                    <a:pt x="188" y="143"/>
                    <a:pt x="188" y="142"/>
                  </a:cubicBezTo>
                  <a:cubicBezTo>
                    <a:pt x="189" y="97"/>
                    <a:pt x="189" y="97"/>
                    <a:pt x="189" y="97"/>
                  </a:cubicBezTo>
                  <a:cubicBezTo>
                    <a:pt x="189" y="74"/>
                    <a:pt x="165" y="53"/>
                    <a:pt x="139" y="53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75" y="53"/>
                    <a:pt x="53" y="64"/>
                    <a:pt x="53" y="89"/>
                  </a:cubicBezTo>
                  <a:cubicBezTo>
                    <a:pt x="53" y="104"/>
                    <a:pt x="41" y="116"/>
                    <a:pt x="26" y="116"/>
                  </a:cubicBezTo>
                  <a:cubicBezTo>
                    <a:pt x="12" y="116"/>
                    <a:pt x="0" y="104"/>
                    <a:pt x="0" y="89"/>
                  </a:cubicBezTo>
                  <a:cubicBezTo>
                    <a:pt x="0" y="37"/>
                    <a:pt x="41" y="0"/>
                    <a:pt x="97" y="0"/>
                  </a:cubicBezTo>
                  <a:cubicBezTo>
                    <a:pt x="139" y="0"/>
                    <a:pt x="139" y="0"/>
                    <a:pt x="139" y="0"/>
                  </a:cubicBezTo>
                  <a:cubicBezTo>
                    <a:pt x="181" y="0"/>
                    <a:pt x="219" y="27"/>
                    <a:pt x="235" y="62"/>
                  </a:cubicBezTo>
                  <a:cubicBezTo>
                    <a:pt x="249" y="53"/>
                    <a:pt x="267" y="48"/>
                    <a:pt x="285" y="48"/>
                  </a:cubicBezTo>
                  <a:cubicBezTo>
                    <a:pt x="327" y="48"/>
                    <a:pt x="327" y="48"/>
                    <a:pt x="327" y="48"/>
                  </a:cubicBezTo>
                  <a:cubicBezTo>
                    <a:pt x="380" y="48"/>
                    <a:pt x="424" y="92"/>
                    <a:pt x="424" y="145"/>
                  </a:cubicBezTo>
                  <a:cubicBezTo>
                    <a:pt x="424" y="151"/>
                    <a:pt x="424" y="151"/>
                    <a:pt x="424" y="151"/>
                  </a:cubicBezTo>
                  <a:cubicBezTo>
                    <a:pt x="424" y="155"/>
                    <a:pt x="469" y="735"/>
                    <a:pt x="364" y="1169"/>
                  </a:cubicBezTo>
                  <a:cubicBezTo>
                    <a:pt x="364" y="1215"/>
                    <a:pt x="364" y="1215"/>
                    <a:pt x="364" y="1215"/>
                  </a:cubicBezTo>
                  <a:cubicBezTo>
                    <a:pt x="364" y="1229"/>
                    <a:pt x="352" y="1241"/>
                    <a:pt x="337" y="12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12" name="Freeform 11">
              <a:extLst>
                <a:ext uri="{FF2B5EF4-FFF2-40B4-BE49-F238E27FC236}">
                  <a16:creationId xmlns:a16="http://schemas.microsoft.com/office/drawing/2014/main" id="{122DAB8A-6B42-D85C-D1C3-3A78F2129B9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28" y="2975"/>
              <a:ext cx="108" cy="64"/>
            </a:xfrm>
            <a:custGeom>
              <a:avLst/>
              <a:gdLst>
                <a:gd name="T0" fmla="*/ 139 w 239"/>
                <a:gd name="T1" fmla="*/ 143 h 143"/>
                <a:gd name="T2" fmla="*/ 98 w 239"/>
                <a:gd name="T3" fmla="*/ 143 h 143"/>
                <a:gd name="T4" fmla="*/ 0 w 239"/>
                <a:gd name="T5" fmla="*/ 26 h 143"/>
                <a:gd name="T6" fmla="*/ 26 w 239"/>
                <a:gd name="T7" fmla="*/ 0 h 143"/>
                <a:gd name="T8" fmla="*/ 53 w 239"/>
                <a:gd name="T9" fmla="*/ 26 h 143"/>
                <a:gd name="T10" fmla="*/ 98 w 239"/>
                <a:gd name="T11" fmla="*/ 90 h 143"/>
                <a:gd name="T12" fmla="*/ 139 w 239"/>
                <a:gd name="T13" fmla="*/ 90 h 143"/>
                <a:gd name="T14" fmla="*/ 186 w 239"/>
                <a:gd name="T15" fmla="*/ 51 h 143"/>
                <a:gd name="T16" fmla="*/ 212 w 239"/>
                <a:gd name="T17" fmla="*/ 25 h 143"/>
                <a:gd name="T18" fmla="*/ 239 w 239"/>
                <a:gd name="T19" fmla="*/ 51 h 143"/>
                <a:gd name="T20" fmla="*/ 139 w 239"/>
                <a:gd name="T21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9" h="143">
                  <a:moveTo>
                    <a:pt x="139" y="143"/>
                  </a:moveTo>
                  <a:cubicBezTo>
                    <a:pt x="98" y="143"/>
                    <a:pt x="98" y="143"/>
                    <a:pt x="98" y="143"/>
                  </a:cubicBezTo>
                  <a:cubicBezTo>
                    <a:pt x="44" y="143"/>
                    <a:pt x="0" y="79"/>
                    <a:pt x="0" y="26"/>
                  </a:cubicBezTo>
                  <a:cubicBezTo>
                    <a:pt x="0" y="12"/>
                    <a:pt x="12" y="0"/>
                    <a:pt x="26" y="0"/>
                  </a:cubicBezTo>
                  <a:cubicBezTo>
                    <a:pt x="41" y="0"/>
                    <a:pt x="53" y="12"/>
                    <a:pt x="53" y="26"/>
                  </a:cubicBezTo>
                  <a:cubicBezTo>
                    <a:pt x="53" y="55"/>
                    <a:pt x="78" y="90"/>
                    <a:pt x="98" y="90"/>
                  </a:cubicBezTo>
                  <a:cubicBezTo>
                    <a:pt x="139" y="90"/>
                    <a:pt x="139" y="90"/>
                    <a:pt x="139" y="90"/>
                  </a:cubicBezTo>
                  <a:cubicBezTo>
                    <a:pt x="162" y="90"/>
                    <a:pt x="186" y="76"/>
                    <a:pt x="186" y="51"/>
                  </a:cubicBezTo>
                  <a:cubicBezTo>
                    <a:pt x="186" y="37"/>
                    <a:pt x="198" y="25"/>
                    <a:pt x="212" y="25"/>
                  </a:cubicBezTo>
                  <a:cubicBezTo>
                    <a:pt x="227" y="25"/>
                    <a:pt x="239" y="37"/>
                    <a:pt x="239" y="51"/>
                  </a:cubicBezTo>
                  <a:cubicBezTo>
                    <a:pt x="239" y="103"/>
                    <a:pt x="195" y="143"/>
                    <a:pt x="139" y="1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13" name="Freeform 12">
              <a:extLst>
                <a:ext uri="{FF2B5EF4-FFF2-40B4-BE49-F238E27FC236}">
                  <a16:creationId xmlns:a16="http://schemas.microsoft.com/office/drawing/2014/main" id="{51497298-89C5-424E-A175-8650C2FED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44" y="2443"/>
              <a:ext cx="111" cy="620"/>
            </a:xfrm>
            <a:custGeom>
              <a:avLst/>
              <a:gdLst>
                <a:gd name="T0" fmla="*/ 141 w 247"/>
                <a:gd name="T1" fmla="*/ 1379 h 1379"/>
                <a:gd name="T2" fmla="*/ 100 w 247"/>
                <a:gd name="T3" fmla="*/ 1379 h 1379"/>
                <a:gd name="T4" fmla="*/ 31 w 247"/>
                <a:gd name="T5" fmla="*/ 1353 h 1379"/>
                <a:gd name="T6" fmla="*/ 0 w 247"/>
                <a:gd name="T7" fmla="*/ 1241 h 1379"/>
                <a:gd name="T8" fmla="*/ 0 w 247"/>
                <a:gd name="T9" fmla="*/ 1235 h 1379"/>
                <a:gd name="T10" fmla="*/ 26 w 247"/>
                <a:gd name="T11" fmla="*/ 1209 h 1379"/>
                <a:gd name="T12" fmla="*/ 53 w 247"/>
                <a:gd name="T13" fmla="*/ 1235 h 1379"/>
                <a:gd name="T14" fmla="*/ 53 w 247"/>
                <a:gd name="T15" fmla="*/ 1241 h 1379"/>
                <a:gd name="T16" fmla="*/ 68 w 247"/>
                <a:gd name="T17" fmla="*/ 1316 h 1379"/>
                <a:gd name="T18" fmla="*/ 100 w 247"/>
                <a:gd name="T19" fmla="*/ 1326 h 1379"/>
                <a:gd name="T20" fmla="*/ 141 w 247"/>
                <a:gd name="T21" fmla="*/ 1326 h 1379"/>
                <a:gd name="T22" fmla="*/ 176 w 247"/>
                <a:gd name="T23" fmla="*/ 1316 h 1379"/>
                <a:gd name="T24" fmla="*/ 186 w 247"/>
                <a:gd name="T25" fmla="*/ 1263 h 1379"/>
                <a:gd name="T26" fmla="*/ 185 w 247"/>
                <a:gd name="T27" fmla="*/ 1252 h 1379"/>
                <a:gd name="T28" fmla="*/ 185 w 247"/>
                <a:gd name="T29" fmla="*/ 975 h 1379"/>
                <a:gd name="T30" fmla="*/ 100 w 247"/>
                <a:gd name="T31" fmla="*/ 504 h 1379"/>
                <a:gd name="T32" fmla="*/ 31 w 247"/>
                <a:gd name="T33" fmla="*/ 134 h 1379"/>
                <a:gd name="T34" fmla="*/ 31 w 247"/>
                <a:gd name="T35" fmla="*/ 26 h 1379"/>
                <a:gd name="T36" fmla="*/ 57 w 247"/>
                <a:gd name="T37" fmla="*/ 0 h 1379"/>
                <a:gd name="T38" fmla="*/ 84 w 247"/>
                <a:gd name="T39" fmla="*/ 26 h 1379"/>
                <a:gd name="T40" fmla="*/ 84 w 247"/>
                <a:gd name="T41" fmla="*/ 134 h 1379"/>
                <a:gd name="T42" fmla="*/ 148 w 247"/>
                <a:gd name="T43" fmla="*/ 481 h 1379"/>
                <a:gd name="T44" fmla="*/ 238 w 247"/>
                <a:gd name="T45" fmla="*/ 976 h 1379"/>
                <a:gd name="T46" fmla="*/ 238 w 247"/>
                <a:gd name="T47" fmla="*/ 1262 h 1379"/>
                <a:gd name="T48" fmla="*/ 214 w 247"/>
                <a:gd name="T49" fmla="*/ 1353 h 1379"/>
                <a:gd name="T50" fmla="*/ 141 w 247"/>
                <a:gd name="T51" fmla="*/ 1379 h 1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7" h="1379">
                  <a:moveTo>
                    <a:pt x="141" y="1379"/>
                  </a:moveTo>
                  <a:cubicBezTo>
                    <a:pt x="100" y="1379"/>
                    <a:pt x="100" y="1379"/>
                    <a:pt x="100" y="1379"/>
                  </a:cubicBezTo>
                  <a:cubicBezTo>
                    <a:pt x="71" y="1379"/>
                    <a:pt x="48" y="1370"/>
                    <a:pt x="31" y="1353"/>
                  </a:cubicBezTo>
                  <a:cubicBezTo>
                    <a:pt x="0" y="1321"/>
                    <a:pt x="0" y="1271"/>
                    <a:pt x="0" y="1241"/>
                  </a:cubicBezTo>
                  <a:cubicBezTo>
                    <a:pt x="0" y="1235"/>
                    <a:pt x="0" y="1235"/>
                    <a:pt x="0" y="1235"/>
                  </a:cubicBezTo>
                  <a:cubicBezTo>
                    <a:pt x="0" y="1221"/>
                    <a:pt x="12" y="1209"/>
                    <a:pt x="26" y="1209"/>
                  </a:cubicBezTo>
                  <a:cubicBezTo>
                    <a:pt x="41" y="1209"/>
                    <a:pt x="53" y="1221"/>
                    <a:pt x="53" y="1235"/>
                  </a:cubicBezTo>
                  <a:cubicBezTo>
                    <a:pt x="53" y="1241"/>
                    <a:pt x="53" y="1241"/>
                    <a:pt x="53" y="1241"/>
                  </a:cubicBezTo>
                  <a:cubicBezTo>
                    <a:pt x="53" y="1264"/>
                    <a:pt x="53" y="1300"/>
                    <a:pt x="68" y="1316"/>
                  </a:cubicBezTo>
                  <a:cubicBezTo>
                    <a:pt x="75" y="1323"/>
                    <a:pt x="85" y="1326"/>
                    <a:pt x="100" y="1326"/>
                  </a:cubicBezTo>
                  <a:cubicBezTo>
                    <a:pt x="141" y="1326"/>
                    <a:pt x="141" y="1326"/>
                    <a:pt x="141" y="1326"/>
                  </a:cubicBezTo>
                  <a:cubicBezTo>
                    <a:pt x="158" y="1326"/>
                    <a:pt x="170" y="1323"/>
                    <a:pt x="176" y="1316"/>
                  </a:cubicBezTo>
                  <a:cubicBezTo>
                    <a:pt x="186" y="1306"/>
                    <a:pt x="186" y="1283"/>
                    <a:pt x="186" y="1263"/>
                  </a:cubicBezTo>
                  <a:cubicBezTo>
                    <a:pt x="185" y="1252"/>
                    <a:pt x="185" y="1252"/>
                    <a:pt x="185" y="1252"/>
                  </a:cubicBezTo>
                  <a:cubicBezTo>
                    <a:pt x="185" y="975"/>
                    <a:pt x="185" y="975"/>
                    <a:pt x="185" y="975"/>
                  </a:cubicBezTo>
                  <a:cubicBezTo>
                    <a:pt x="186" y="971"/>
                    <a:pt x="193" y="697"/>
                    <a:pt x="100" y="504"/>
                  </a:cubicBezTo>
                  <a:cubicBezTo>
                    <a:pt x="38" y="374"/>
                    <a:pt x="31" y="144"/>
                    <a:pt x="31" y="134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12"/>
                    <a:pt x="43" y="0"/>
                    <a:pt x="57" y="0"/>
                  </a:cubicBezTo>
                  <a:cubicBezTo>
                    <a:pt x="72" y="0"/>
                    <a:pt x="84" y="12"/>
                    <a:pt x="84" y="26"/>
                  </a:cubicBezTo>
                  <a:cubicBezTo>
                    <a:pt x="84" y="134"/>
                    <a:pt x="84" y="134"/>
                    <a:pt x="84" y="134"/>
                  </a:cubicBezTo>
                  <a:cubicBezTo>
                    <a:pt x="84" y="135"/>
                    <a:pt x="91" y="362"/>
                    <a:pt x="148" y="481"/>
                  </a:cubicBezTo>
                  <a:cubicBezTo>
                    <a:pt x="247" y="686"/>
                    <a:pt x="239" y="964"/>
                    <a:pt x="238" y="976"/>
                  </a:cubicBezTo>
                  <a:cubicBezTo>
                    <a:pt x="238" y="1262"/>
                    <a:pt x="238" y="1262"/>
                    <a:pt x="238" y="1262"/>
                  </a:cubicBezTo>
                  <a:cubicBezTo>
                    <a:pt x="239" y="1290"/>
                    <a:pt x="240" y="1327"/>
                    <a:pt x="214" y="1353"/>
                  </a:cubicBezTo>
                  <a:cubicBezTo>
                    <a:pt x="197" y="1370"/>
                    <a:pt x="173" y="1379"/>
                    <a:pt x="141" y="13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14" name="Freeform 13">
              <a:extLst>
                <a:ext uri="{FF2B5EF4-FFF2-40B4-BE49-F238E27FC236}">
                  <a16:creationId xmlns:a16="http://schemas.microsoft.com/office/drawing/2014/main" id="{D231ECFF-1FD1-7E07-50E5-F57577BAF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16" y="2469"/>
              <a:ext cx="212" cy="558"/>
            </a:xfrm>
            <a:custGeom>
              <a:avLst/>
              <a:gdLst>
                <a:gd name="T0" fmla="*/ 371 w 469"/>
                <a:gd name="T1" fmla="*/ 1242 h 1242"/>
                <a:gd name="T2" fmla="*/ 329 w 469"/>
                <a:gd name="T3" fmla="*/ 1242 h 1242"/>
                <a:gd name="T4" fmla="*/ 234 w 469"/>
                <a:gd name="T5" fmla="*/ 1179 h 1242"/>
                <a:gd name="T6" fmla="*/ 183 w 469"/>
                <a:gd name="T7" fmla="*/ 1194 h 1242"/>
                <a:gd name="T8" fmla="*/ 142 w 469"/>
                <a:gd name="T9" fmla="*/ 1194 h 1242"/>
                <a:gd name="T10" fmla="*/ 45 w 469"/>
                <a:gd name="T11" fmla="*/ 1096 h 1242"/>
                <a:gd name="T12" fmla="*/ 45 w 469"/>
                <a:gd name="T13" fmla="*/ 1090 h 1242"/>
                <a:gd name="T14" fmla="*/ 105 w 469"/>
                <a:gd name="T15" fmla="*/ 73 h 1242"/>
                <a:gd name="T16" fmla="*/ 105 w 469"/>
                <a:gd name="T17" fmla="*/ 27 h 1242"/>
                <a:gd name="T18" fmla="*/ 131 w 469"/>
                <a:gd name="T19" fmla="*/ 0 h 1242"/>
                <a:gd name="T20" fmla="*/ 158 w 469"/>
                <a:gd name="T21" fmla="*/ 27 h 1242"/>
                <a:gd name="T22" fmla="*/ 158 w 469"/>
                <a:gd name="T23" fmla="*/ 76 h 1242"/>
                <a:gd name="T24" fmla="*/ 157 w 469"/>
                <a:gd name="T25" fmla="*/ 82 h 1242"/>
                <a:gd name="T26" fmla="*/ 98 w 469"/>
                <a:gd name="T27" fmla="*/ 1088 h 1242"/>
                <a:gd name="T28" fmla="*/ 98 w 469"/>
                <a:gd name="T29" fmla="*/ 1096 h 1242"/>
                <a:gd name="T30" fmla="*/ 142 w 469"/>
                <a:gd name="T31" fmla="*/ 1141 h 1242"/>
                <a:gd name="T32" fmla="*/ 183 w 469"/>
                <a:gd name="T33" fmla="*/ 1141 h 1242"/>
                <a:gd name="T34" fmla="*/ 227 w 469"/>
                <a:gd name="T35" fmla="*/ 1098 h 1242"/>
                <a:gd name="T36" fmla="*/ 227 w 469"/>
                <a:gd name="T37" fmla="*/ 1096 h 1242"/>
                <a:gd name="T38" fmla="*/ 254 w 469"/>
                <a:gd name="T39" fmla="*/ 1070 h 1242"/>
                <a:gd name="T40" fmla="*/ 280 w 469"/>
                <a:gd name="T41" fmla="*/ 1096 h 1242"/>
                <a:gd name="T42" fmla="*/ 280 w 469"/>
                <a:gd name="T43" fmla="*/ 1099 h 1242"/>
                <a:gd name="T44" fmla="*/ 280 w 469"/>
                <a:gd name="T45" fmla="*/ 1145 h 1242"/>
                <a:gd name="T46" fmla="*/ 329 w 469"/>
                <a:gd name="T47" fmla="*/ 1189 h 1242"/>
                <a:gd name="T48" fmla="*/ 371 w 469"/>
                <a:gd name="T49" fmla="*/ 1189 h 1242"/>
                <a:gd name="T50" fmla="*/ 416 w 469"/>
                <a:gd name="T51" fmla="*/ 1152 h 1242"/>
                <a:gd name="T52" fmla="*/ 442 w 469"/>
                <a:gd name="T53" fmla="*/ 1126 h 1242"/>
                <a:gd name="T54" fmla="*/ 469 w 469"/>
                <a:gd name="T55" fmla="*/ 1152 h 1242"/>
                <a:gd name="T56" fmla="*/ 371 w 469"/>
                <a:gd name="T57" fmla="*/ 1242 h 1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69" h="1242">
                  <a:moveTo>
                    <a:pt x="371" y="1242"/>
                  </a:moveTo>
                  <a:cubicBezTo>
                    <a:pt x="329" y="1242"/>
                    <a:pt x="329" y="1242"/>
                    <a:pt x="329" y="1242"/>
                  </a:cubicBezTo>
                  <a:cubicBezTo>
                    <a:pt x="288" y="1242"/>
                    <a:pt x="250" y="1215"/>
                    <a:pt x="234" y="1179"/>
                  </a:cubicBezTo>
                  <a:cubicBezTo>
                    <a:pt x="219" y="1188"/>
                    <a:pt x="202" y="1194"/>
                    <a:pt x="183" y="1194"/>
                  </a:cubicBezTo>
                  <a:cubicBezTo>
                    <a:pt x="142" y="1194"/>
                    <a:pt x="142" y="1194"/>
                    <a:pt x="142" y="1194"/>
                  </a:cubicBezTo>
                  <a:cubicBezTo>
                    <a:pt x="88" y="1194"/>
                    <a:pt x="45" y="1150"/>
                    <a:pt x="45" y="1096"/>
                  </a:cubicBezTo>
                  <a:cubicBezTo>
                    <a:pt x="45" y="1090"/>
                    <a:pt x="45" y="1090"/>
                    <a:pt x="45" y="1090"/>
                  </a:cubicBezTo>
                  <a:cubicBezTo>
                    <a:pt x="45" y="1087"/>
                    <a:pt x="0" y="507"/>
                    <a:pt x="105" y="73"/>
                  </a:cubicBezTo>
                  <a:cubicBezTo>
                    <a:pt x="105" y="27"/>
                    <a:pt x="105" y="27"/>
                    <a:pt x="105" y="27"/>
                  </a:cubicBezTo>
                  <a:cubicBezTo>
                    <a:pt x="105" y="12"/>
                    <a:pt x="117" y="0"/>
                    <a:pt x="131" y="0"/>
                  </a:cubicBezTo>
                  <a:cubicBezTo>
                    <a:pt x="146" y="0"/>
                    <a:pt x="158" y="12"/>
                    <a:pt x="158" y="27"/>
                  </a:cubicBezTo>
                  <a:cubicBezTo>
                    <a:pt x="158" y="76"/>
                    <a:pt x="158" y="76"/>
                    <a:pt x="158" y="76"/>
                  </a:cubicBezTo>
                  <a:cubicBezTo>
                    <a:pt x="158" y="78"/>
                    <a:pt x="157" y="80"/>
                    <a:pt x="157" y="82"/>
                  </a:cubicBezTo>
                  <a:cubicBezTo>
                    <a:pt x="53" y="508"/>
                    <a:pt x="97" y="1083"/>
                    <a:pt x="98" y="1088"/>
                  </a:cubicBezTo>
                  <a:cubicBezTo>
                    <a:pt x="98" y="1096"/>
                    <a:pt x="98" y="1096"/>
                    <a:pt x="98" y="1096"/>
                  </a:cubicBezTo>
                  <a:cubicBezTo>
                    <a:pt x="98" y="1121"/>
                    <a:pt x="117" y="1141"/>
                    <a:pt x="142" y="1141"/>
                  </a:cubicBezTo>
                  <a:cubicBezTo>
                    <a:pt x="183" y="1141"/>
                    <a:pt x="183" y="1141"/>
                    <a:pt x="183" y="1141"/>
                  </a:cubicBezTo>
                  <a:cubicBezTo>
                    <a:pt x="207" y="1141"/>
                    <a:pt x="227" y="1122"/>
                    <a:pt x="227" y="1098"/>
                  </a:cubicBezTo>
                  <a:cubicBezTo>
                    <a:pt x="227" y="1096"/>
                    <a:pt x="227" y="1096"/>
                    <a:pt x="227" y="1096"/>
                  </a:cubicBezTo>
                  <a:cubicBezTo>
                    <a:pt x="228" y="1082"/>
                    <a:pt x="240" y="1070"/>
                    <a:pt x="254" y="1070"/>
                  </a:cubicBezTo>
                  <a:cubicBezTo>
                    <a:pt x="269" y="1070"/>
                    <a:pt x="280" y="1082"/>
                    <a:pt x="280" y="1096"/>
                  </a:cubicBezTo>
                  <a:cubicBezTo>
                    <a:pt x="280" y="1097"/>
                    <a:pt x="280" y="1098"/>
                    <a:pt x="280" y="1099"/>
                  </a:cubicBezTo>
                  <a:cubicBezTo>
                    <a:pt x="280" y="1145"/>
                    <a:pt x="280" y="1145"/>
                    <a:pt x="280" y="1145"/>
                  </a:cubicBezTo>
                  <a:cubicBezTo>
                    <a:pt x="280" y="1167"/>
                    <a:pt x="304" y="1189"/>
                    <a:pt x="329" y="1189"/>
                  </a:cubicBezTo>
                  <a:cubicBezTo>
                    <a:pt x="371" y="1189"/>
                    <a:pt x="371" y="1189"/>
                    <a:pt x="371" y="1189"/>
                  </a:cubicBezTo>
                  <a:cubicBezTo>
                    <a:pt x="394" y="1189"/>
                    <a:pt x="416" y="1178"/>
                    <a:pt x="416" y="1152"/>
                  </a:cubicBezTo>
                  <a:cubicBezTo>
                    <a:pt x="416" y="1138"/>
                    <a:pt x="428" y="1126"/>
                    <a:pt x="442" y="1126"/>
                  </a:cubicBezTo>
                  <a:cubicBezTo>
                    <a:pt x="457" y="1126"/>
                    <a:pt x="469" y="1138"/>
                    <a:pt x="469" y="1152"/>
                  </a:cubicBezTo>
                  <a:cubicBezTo>
                    <a:pt x="469" y="1204"/>
                    <a:pt x="428" y="1242"/>
                    <a:pt x="371" y="12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15" name="Freeform 14">
              <a:extLst>
                <a:ext uri="{FF2B5EF4-FFF2-40B4-BE49-F238E27FC236}">
                  <a16:creationId xmlns:a16="http://schemas.microsoft.com/office/drawing/2014/main" id="{DE2952EE-BFFA-D7E5-A8FA-95E69B424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80" y="2298"/>
              <a:ext cx="64" cy="108"/>
            </a:xfrm>
            <a:custGeom>
              <a:avLst/>
              <a:gdLst>
                <a:gd name="T0" fmla="*/ 92 w 143"/>
                <a:gd name="T1" fmla="*/ 239 h 239"/>
                <a:gd name="T2" fmla="*/ 0 w 143"/>
                <a:gd name="T3" fmla="*/ 139 h 239"/>
                <a:gd name="T4" fmla="*/ 0 w 143"/>
                <a:gd name="T5" fmla="*/ 98 h 239"/>
                <a:gd name="T6" fmla="*/ 116 w 143"/>
                <a:gd name="T7" fmla="*/ 0 h 239"/>
                <a:gd name="T8" fmla="*/ 143 w 143"/>
                <a:gd name="T9" fmla="*/ 26 h 239"/>
                <a:gd name="T10" fmla="*/ 116 w 143"/>
                <a:gd name="T11" fmla="*/ 53 h 239"/>
                <a:gd name="T12" fmla="*/ 53 w 143"/>
                <a:gd name="T13" fmla="*/ 98 h 239"/>
                <a:gd name="T14" fmla="*/ 53 w 143"/>
                <a:gd name="T15" fmla="*/ 139 h 239"/>
                <a:gd name="T16" fmla="*/ 92 w 143"/>
                <a:gd name="T17" fmla="*/ 186 h 239"/>
                <a:gd name="T18" fmla="*/ 118 w 143"/>
                <a:gd name="T19" fmla="*/ 212 h 239"/>
                <a:gd name="T20" fmla="*/ 92 w 143"/>
                <a:gd name="T21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3" h="239">
                  <a:moveTo>
                    <a:pt x="92" y="239"/>
                  </a:moveTo>
                  <a:cubicBezTo>
                    <a:pt x="40" y="239"/>
                    <a:pt x="0" y="195"/>
                    <a:pt x="0" y="139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0" y="43"/>
                    <a:pt x="64" y="0"/>
                    <a:pt x="116" y="0"/>
                  </a:cubicBezTo>
                  <a:cubicBezTo>
                    <a:pt x="131" y="0"/>
                    <a:pt x="143" y="12"/>
                    <a:pt x="143" y="26"/>
                  </a:cubicBezTo>
                  <a:cubicBezTo>
                    <a:pt x="143" y="41"/>
                    <a:pt x="131" y="53"/>
                    <a:pt x="116" y="53"/>
                  </a:cubicBezTo>
                  <a:cubicBezTo>
                    <a:pt x="88" y="53"/>
                    <a:pt x="53" y="77"/>
                    <a:pt x="53" y="98"/>
                  </a:cubicBezTo>
                  <a:cubicBezTo>
                    <a:pt x="53" y="139"/>
                    <a:pt x="53" y="139"/>
                    <a:pt x="53" y="139"/>
                  </a:cubicBezTo>
                  <a:cubicBezTo>
                    <a:pt x="53" y="162"/>
                    <a:pt x="66" y="186"/>
                    <a:pt x="92" y="186"/>
                  </a:cubicBezTo>
                  <a:cubicBezTo>
                    <a:pt x="106" y="186"/>
                    <a:pt x="118" y="198"/>
                    <a:pt x="118" y="212"/>
                  </a:cubicBezTo>
                  <a:cubicBezTo>
                    <a:pt x="118" y="227"/>
                    <a:pt x="106" y="239"/>
                    <a:pt x="92" y="2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16" name="Freeform 15">
              <a:extLst>
                <a:ext uri="{FF2B5EF4-FFF2-40B4-BE49-F238E27FC236}">
                  <a16:creationId xmlns:a16="http://schemas.microsoft.com/office/drawing/2014/main" id="{3FB43913-E51D-C0D0-5AE3-4E096D31480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04" y="2382"/>
              <a:ext cx="652" cy="111"/>
            </a:xfrm>
            <a:custGeom>
              <a:avLst/>
              <a:gdLst>
                <a:gd name="T0" fmla="*/ 104 w 1444"/>
                <a:gd name="T1" fmla="*/ 238 h 247"/>
                <a:gd name="T2" fmla="*/ 26 w 1444"/>
                <a:gd name="T3" fmla="*/ 214 h 247"/>
                <a:gd name="T4" fmla="*/ 0 w 1444"/>
                <a:gd name="T5" fmla="*/ 141 h 247"/>
                <a:gd name="T6" fmla="*/ 0 w 1444"/>
                <a:gd name="T7" fmla="*/ 99 h 247"/>
                <a:gd name="T8" fmla="*/ 26 w 1444"/>
                <a:gd name="T9" fmla="*/ 31 h 247"/>
                <a:gd name="T10" fmla="*/ 138 w 1444"/>
                <a:gd name="T11" fmla="*/ 0 h 247"/>
                <a:gd name="T12" fmla="*/ 144 w 1444"/>
                <a:gd name="T13" fmla="*/ 0 h 247"/>
                <a:gd name="T14" fmla="*/ 170 w 1444"/>
                <a:gd name="T15" fmla="*/ 26 h 247"/>
                <a:gd name="T16" fmla="*/ 144 w 1444"/>
                <a:gd name="T17" fmla="*/ 53 h 247"/>
                <a:gd name="T18" fmla="*/ 138 w 1444"/>
                <a:gd name="T19" fmla="*/ 53 h 247"/>
                <a:gd name="T20" fmla="*/ 63 w 1444"/>
                <a:gd name="T21" fmla="*/ 68 h 247"/>
                <a:gd name="T22" fmla="*/ 53 w 1444"/>
                <a:gd name="T23" fmla="*/ 99 h 247"/>
                <a:gd name="T24" fmla="*/ 53 w 1444"/>
                <a:gd name="T25" fmla="*/ 141 h 247"/>
                <a:gd name="T26" fmla="*/ 63 w 1444"/>
                <a:gd name="T27" fmla="*/ 176 h 247"/>
                <a:gd name="T28" fmla="*/ 115 w 1444"/>
                <a:gd name="T29" fmla="*/ 185 h 247"/>
                <a:gd name="T30" fmla="*/ 127 w 1444"/>
                <a:gd name="T31" fmla="*/ 185 h 247"/>
                <a:gd name="T32" fmla="*/ 404 w 1444"/>
                <a:gd name="T33" fmla="*/ 185 h 247"/>
                <a:gd name="T34" fmla="*/ 875 w 1444"/>
                <a:gd name="T35" fmla="*/ 100 h 247"/>
                <a:gd name="T36" fmla="*/ 1244 w 1444"/>
                <a:gd name="T37" fmla="*/ 31 h 247"/>
                <a:gd name="T38" fmla="*/ 1417 w 1444"/>
                <a:gd name="T39" fmla="*/ 31 h 247"/>
                <a:gd name="T40" fmla="*/ 1444 w 1444"/>
                <a:gd name="T41" fmla="*/ 57 h 247"/>
                <a:gd name="T42" fmla="*/ 1417 w 1444"/>
                <a:gd name="T43" fmla="*/ 84 h 247"/>
                <a:gd name="T44" fmla="*/ 1245 w 1444"/>
                <a:gd name="T45" fmla="*/ 84 h 247"/>
                <a:gd name="T46" fmla="*/ 898 w 1444"/>
                <a:gd name="T47" fmla="*/ 148 h 247"/>
                <a:gd name="T48" fmla="*/ 403 w 1444"/>
                <a:gd name="T49" fmla="*/ 238 h 247"/>
                <a:gd name="T50" fmla="*/ 116 w 1444"/>
                <a:gd name="T51" fmla="*/ 238 h 247"/>
                <a:gd name="T52" fmla="*/ 104 w 1444"/>
                <a:gd name="T53" fmla="*/ 23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44" h="247">
                  <a:moveTo>
                    <a:pt x="104" y="238"/>
                  </a:moveTo>
                  <a:cubicBezTo>
                    <a:pt x="78" y="238"/>
                    <a:pt x="48" y="236"/>
                    <a:pt x="26" y="214"/>
                  </a:cubicBezTo>
                  <a:cubicBezTo>
                    <a:pt x="9" y="197"/>
                    <a:pt x="0" y="173"/>
                    <a:pt x="0" y="141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71"/>
                    <a:pt x="9" y="48"/>
                    <a:pt x="26" y="31"/>
                  </a:cubicBezTo>
                  <a:cubicBezTo>
                    <a:pt x="57" y="0"/>
                    <a:pt x="108" y="0"/>
                    <a:pt x="138" y="0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58" y="0"/>
                    <a:pt x="170" y="12"/>
                    <a:pt x="170" y="26"/>
                  </a:cubicBezTo>
                  <a:cubicBezTo>
                    <a:pt x="170" y="41"/>
                    <a:pt x="158" y="53"/>
                    <a:pt x="144" y="53"/>
                  </a:cubicBezTo>
                  <a:cubicBezTo>
                    <a:pt x="138" y="53"/>
                    <a:pt x="138" y="53"/>
                    <a:pt x="138" y="53"/>
                  </a:cubicBezTo>
                  <a:cubicBezTo>
                    <a:pt x="115" y="53"/>
                    <a:pt x="79" y="52"/>
                    <a:pt x="63" y="68"/>
                  </a:cubicBezTo>
                  <a:cubicBezTo>
                    <a:pt x="56" y="75"/>
                    <a:pt x="53" y="85"/>
                    <a:pt x="53" y="99"/>
                  </a:cubicBezTo>
                  <a:cubicBezTo>
                    <a:pt x="53" y="141"/>
                    <a:pt x="53" y="141"/>
                    <a:pt x="53" y="141"/>
                  </a:cubicBezTo>
                  <a:cubicBezTo>
                    <a:pt x="53" y="158"/>
                    <a:pt x="56" y="170"/>
                    <a:pt x="63" y="176"/>
                  </a:cubicBezTo>
                  <a:cubicBezTo>
                    <a:pt x="73" y="186"/>
                    <a:pt x="96" y="186"/>
                    <a:pt x="115" y="185"/>
                  </a:cubicBezTo>
                  <a:cubicBezTo>
                    <a:pt x="127" y="185"/>
                    <a:pt x="127" y="185"/>
                    <a:pt x="127" y="185"/>
                  </a:cubicBezTo>
                  <a:cubicBezTo>
                    <a:pt x="404" y="185"/>
                    <a:pt x="404" y="185"/>
                    <a:pt x="404" y="185"/>
                  </a:cubicBezTo>
                  <a:cubicBezTo>
                    <a:pt x="408" y="185"/>
                    <a:pt x="682" y="193"/>
                    <a:pt x="875" y="100"/>
                  </a:cubicBezTo>
                  <a:cubicBezTo>
                    <a:pt x="1004" y="38"/>
                    <a:pt x="1235" y="31"/>
                    <a:pt x="1244" y="31"/>
                  </a:cubicBezTo>
                  <a:cubicBezTo>
                    <a:pt x="1417" y="31"/>
                    <a:pt x="1417" y="31"/>
                    <a:pt x="1417" y="31"/>
                  </a:cubicBezTo>
                  <a:cubicBezTo>
                    <a:pt x="1432" y="31"/>
                    <a:pt x="1444" y="43"/>
                    <a:pt x="1444" y="57"/>
                  </a:cubicBezTo>
                  <a:cubicBezTo>
                    <a:pt x="1444" y="72"/>
                    <a:pt x="1432" y="84"/>
                    <a:pt x="1417" y="84"/>
                  </a:cubicBezTo>
                  <a:cubicBezTo>
                    <a:pt x="1245" y="84"/>
                    <a:pt x="1245" y="84"/>
                    <a:pt x="1245" y="84"/>
                  </a:cubicBezTo>
                  <a:cubicBezTo>
                    <a:pt x="1244" y="84"/>
                    <a:pt x="1017" y="90"/>
                    <a:pt x="898" y="148"/>
                  </a:cubicBezTo>
                  <a:cubicBezTo>
                    <a:pt x="693" y="247"/>
                    <a:pt x="415" y="239"/>
                    <a:pt x="403" y="238"/>
                  </a:cubicBezTo>
                  <a:cubicBezTo>
                    <a:pt x="116" y="238"/>
                    <a:pt x="116" y="238"/>
                    <a:pt x="116" y="238"/>
                  </a:cubicBezTo>
                  <a:cubicBezTo>
                    <a:pt x="112" y="238"/>
                    <a:pt x="108" y="238"/>
                    <a:pt x="104" y="2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17" name="Freeform 16">
              <a:extLst>
                <a:ext uri="{FF2B5EF4-FFF2-40B4-BE49-F238E27FC236}">
                  <a16:creationId xmlns:a16="http://schemas.microsoft.com/office/drawing/2014/main" id="{8C40F62D-8770-D3A3-D9D7-EE5540FB82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68" y="2111"/>
              <a:ext cx="592" cy="211"/>
            </a:xfrm>
            <a:custGeom>
              <a:avLst/>
              <a:gdLst>
                <a:gd name="T0" fmla="*/ 89 w 1312"/>
                <a:gd name="T1" fmla="*/ 469 h 469"/>
                <a:gd name="T2" fmla="*/ 0 w 1312"/>
                <a:gd name="T3" fmla="*/ 371 h 469"/>
                <a:gd name="T4" fmla="*/ 0 w 1312"/>
                <a:gd name="T5" fmla="*/ 329 h 469"/>
                <a:gd name="T6" fmla="*/ 63 w 1312"/>
                <a:gd name="T7" fmla="*/ 234 h 469"/>
                <a:gd name="T8" fmla="*/ 48 w 1312"/>
                <a:gd name="T9" fmla="*/ 183 h 469"/>
                <a:gd name="T10" fmla="*/ 48 w 1312"/>
                <a:gd name="T11" fmla="*/ 141 h 469"/>
                <a:gd name="T12" fmla="*/ 145 w 1312"/>
                <a:gd name="T13" fmla="*/ 45 h 469"/>
                <a:gd name="T14" fmla="*/ 151 w 1312"/>
                <a:gd name="T15" fmla="*/ 45 h 469"/>
                <a:gd name="T16" fmla="*/ 1169 w 1312"/>
                <a:gd name="T17" fmla="*/ 105 h 469"/>
                <a:gd name="T18" fmla="*/ 1286 w 1312"/>
                <a:gd name="T19" fmla="*/ 105 h 469"/>
                <a:gd name="T20" fmla="*/ 1312 w 1312"/>
                <a:gd name="T21" fmla="*/ 131 h 469"/>
                <a:gd name="T22" fmla="*/ 1286 w 1312"/>
                <a:gd name="T23" fmla="*/ 158 h 469"/>
                <a:gd name="T24" fmla="*/ 1166 w 1312"/>
                <a:gd name="T25" fmla="*/ 158 h 469"/>
                <a:gd name="T26" fmla="*/ 1160 w 1312"/>
                <a:gd name="T27" fmla="*/ 157 h 469"/>
                <a:gd name="T28" fmla="*/ 154 w 1312"/>
                <a:gd name="T29" fmla="*/ 98 h 469"/>
                <a:gd name="T30" fmla="*/ 145 w 1312"/>
                <a:gd name="T31" fmla="*/ 98 h 469"/>
                <a:gd name="T32" fmla="*/ 101 w 1312"/>
                <a:gd name="T33" fmla="*/ 141 h 469"/>
                <a:gd name="T34" fmla="*/ 101 w 1312"/>
                <a:gd name="T35" fmla="*/ 183 h 469"/>
                <a:gd name="T36" fmla="*/ 144 w 1312"/>
                <a:gd name="T37" fmla="*/ 227 h 469"/>
                <a:gd name="T38" fmla="*/ 146 w 1312"/>
                <a:gd name="T39" fmla="*/ 227 h 469"/>
                <a:gd name="T40" fmla="*/ 172 w 1312"/>
                <a:gd name="T41" fmla="*/ 254 h 469"/>
                <a:gd name="T42" fmla="*/ 143 w 1312"/>
                <a:gd name="T43" fmla="*/ 280 h 469"/>
                <a:gd name="T44" fmla="*/ 97 w 1312"/>
                <a:gd name="T45" fmla="*/ 280 h 469"/>
                <a:gd name="T46" fmla="*/ 53 w 1312"/>
                <a:gd name="T47" fmla="*/ 329 h 469"/>
                <a:gd name="T48" fmla="*/ 53 w 1312"/>
                <a:gd name="T49" fmla="*/ 371 h 469"/>
                <a:gd name="T50" fmla="*/ 89 w 1312"/>
                <a:gd name="T51" fmla="*/ 416 h 469"/>
                <a:gd name="T52" fmla="*/ 116 w 1312"/>
                <a:gd name="T53" fmla="*/ 442 h 469"/>
                <a:gd name="T54" fmla="*/ 89 w 1312"/>
                <a:gd name="T55" fmla="*/ 469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12" h="469">
                  <a:moveTo>
                    <a:pt x="89" y="469"/>
                  </a:moveTo>
                  <a:cubicBezTo>
                    <a:pt x="38" y="469"/>
                    <a:pt x="0" y="428"/>
                    <a:pt x="0" y="371"/>
                  </a:cubicBezTo>
                  <a:cubicBezTo>
                    <a:pt x="0" y="329"/>
                    <a:pt x="0" y="329"/>
                    <a:pt x="0" y="329"/>
                  </a:cubicBezTo>
                  <a:cubicBezTo>
                    <a:pt x="0" y="287"/>
                    <a:pt x="27" y="249"/>
                    <a:pt x="63" y="234"/>
                  </a:cubicBezTo>
                  <a:cubicBezTo>
                    <a:pt x="54" y="219"/>
                    <a:pt x="48" y="202"/>
                    <a:pt x="48" y="183"/>
                  </a:cubicBezTo>
                  <a:cubicBezTo>
                    <a:pt x="48" y="141"/>
                    <a:pt x="48" y="141"/>
                    <a:pt x="48" y="141"/>
                  </a:cubicBezTo>
                  <a:cubicBezTo>
                    <a:pt x="48" y="88"/>
                    <a:pt x="92" y="45"/>
                    <a:pt x="145" y="45"/>
                  </a:cubicBezTo>
                  <a:cubicBezTo>
                    <a:pt x="151" y="45"/>
                    <a:pt x="151" y="45"/>
                    <a:pt x="151" y="45"/>
                  </a:cubicBezTo>
                  <a:cubicBezTo>
                    <a:pt x="155" y="44"/>
                    <a:pt x="735" y="0"/>
                    <a:pt x="1169" y="105"/>
                  </a:cubicBezTo>
                  <a:cubicBezTo>
                    <a:pt x="1286" y="105"/>
                    <a:pt x="1286" y="105"/>
                    <a:pt x="1286" y="105"/>
                  </a:cubicBezTo>
                  <a:cubicBezTo>
                    <a:pt x="1301" y="105"/>
                    <a:pt x="1312" y="117"/>
                    <a:pt x="1312" y="131"/>
                  </a:cubicBezTo>
                  <a:cubicBezTo>
                    <a:pt x="1312" y="146"/>
                    <a:pt x="1301" y="158"/>
                    <a:pt x="1286" y="158"/>
                  </a:cubicBezTo>
                  <a:cubicBezTo>
                    <a:pt x="1166" y="158"/>
                    <a:pt x="1166" y="158"/>
                    <a:pt x="1166" y="158"/>
                  </a:cubicBezTo>
                  <a:cubicBezTo>
                    <a:pt x="1164" y="158"/>
                    <a:pt x="1162" y="157"/>
                    <a:pt x="1160" y="157"/>
                  </a:cubicBezTo>
                  <a:cubicBezTo>
                    <a:pt x="734" y="53"/>
                    <a:pt x="159" y="97"/>
                    <a:pt x="154" y="98"/>
                  </a:cubicBezTo>
                  <a:cubicBezTo>
                    <a:pt x="145" y="98"/>
                    <a:pt x="145" y="98"/>
                    <a:pt x="145" y="98"/>
                  </a:cubicBezTo>
                  <a:cubicBezTo>
                    <a:pt x="121" y="98"/>
                    <a:pt x="101" y="117"/>
                    <a:pt x="101" y="141"/>
                  </a:cubicBezTo>
                  <a:cubicBezTo>
                    <a:pt x="101" y="183"/>
                    <a:pt x="101" y="183"/>
                    <a:pt x="101" y="183"/>
                  </a:cubicBezTo>
                  <a:cubicBezTo>
                    <a:pt x="101" y="207"/>
                    <a:pt x="120" y="227"/>
                    <a:pt x="144" y="227"/>
                  </a:cubicBezTo>
                  <a:cubicBezTo>
                    <a:pt x="146" y="227"/>
                    <a:pt x="146" y="227"/>
                    <a:pt x="146" y="227"/>
                  </a:cubicBezTo>
                  <a:cubicBezTo>
                    <a:pt x="160" y="228"/>
                    <a:pt x="172" y="239"/>
                    <a:pt x="172" y="254"/>
                  </a:cubicBezTo>
                  <a:cubicBezTo>
                    <a:pt x="172" y="269"/>
                    <a:pt x="158" y="281"/>
                    <a:pt x="143" y="280"/>
                  </a:cubicBezTo>
                  <a:cubicBezTo>
                    <a:pt x="97" y="280"/>
                    <a:pt x="97" y="280"/>
                    <a:pt x="97" y="280"/>
                  </a:cubicBezTo>
                  <a:cubicBezTo>
                    <a:pt x="75" y="280"/>
                    <a:pt x="53" y="304"/>
                    <a:pt x="53" y="329"/>
                  </a:cubicBezTo>
                  <a:cubicBezTo>
                    <a:pt x="53" y="371"/>
                    <a:pt x="53" y="371"/>
                    <a:pt x="53" y="371"/>
                  </a:cubicBezTo>
                  <a:cubicBezTo>
                    <a:pt x="53" y="393"/>
                    <a:pt x="64" y="416"/>
                    <a:pt x="89" y="416"/>
                  </a:cubicBezTo>
                  <a:cubicBezTo>
                    <a:pt x="104" y="416"/>
                    <a:pt x="116" y="428"/>
                    <a:pt x="116" y="442"/>
                  </a:cubicBezTo>
                  <a:cubicBezTo>
                    <a:pt x="116" y="457"/>
                    <a:pt x="104" y="469"/>
                    <a:pt x="89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18" name="Rectangle 17">
              <a:extLst>
                <a:ext uri="{FF2B5EF4-FFF2-40B4-BE49-F238E27FC236}">
                  <a16:creationId xmlns:a16="http://schemas.microsoft.com/office/drawing/2014/main" id="{B0D206C5-F5FE-6602-969C-4CCCF18A4B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28" y="2963"/>
              <a:ext cx="23" cy="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19" name="Rectangle 18">
              <a:extLst>
                <a:ext uri="{FF2B5EF4-FFF2-40B4-BE49-F238E27FC236}">
                  <a16:creationId xmlns:a16="http://schemas.microsoft.com/office/drawing/2014/main" id="{6484186E-579C-479E-7960-636DB30057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090" y="2963"/>
              <a:ext cx="24" cy="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20" name="Rectangle 19">
              <a:extLst>
                <a:ext uri="{FF2B5EF4-FFF2-40B4-BE49-F238E27FC236}">
                  <a16:creationId xmlns:a16="http://schemas.microsoft.com/office/drawing/2014/main" id="{831609D9-82B0-BC27-02F2-38A5DF7C1D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050" y="2395"/>
              <a:ext cx="82" cy="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21" name="Rectangle 20">
              <a:extLst>
                <a:ext uri="{FF2B5EF4-FFF2-40B4-BE49-F238E27FC236}">
                  <a16:creationId xmlns:a16="http://schemas.microsoft.com/office/drawing/2014/main" id="{E0337A6B-8079-DB1A-35D3-8616E79CD4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050" y="2158"/>
              <a:ext cx="82" cy="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22" name="Rectangle 21">
              <a:extLst>
                <a:ext uri="{FF2B5EF4-FFF2-40B4-BE49-F238E27FC236}">
                  <a16:creationId xmlns:a16="http://schemas.microsoft.com/office/drawing/2014/main" id="{148F7ABB-1D41-5745-79A0-AEDB0FFCFF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631" y="2062"/>
              <a:ext cx="23" cy="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23" name="Rectangle 22">
              <a:extLst>
                <a:ext uri="{FF2B5EF4-FFF2-40B4-BE49-F238E27FC236}">
                  <a16:creationId xmlns:a16="http://schemas.microsoft.com/office/drawing/2014/main" id="{388DF8B4-08F2-1DD8-D583-A3C44FCA98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870" y="2062"/>
              <a:ext cx="24" cy="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24" name="Rectangle 23">
              <a:extLst>
                <a:ext uri="{FF2B5EF4-FFF2-40B4-BE49-F238E27FC236}">
                  <a16:creationId xmlns:a16="http://schemas.microsoft.com/office/drawing/2014/main" id="{C8B5F9DE-CDC3-BECE-C69D-684DB41196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967" y="2920"/>
              <a:ext cx="83" cy="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25" name="Rectangle 24">
              <a:extLst>
                <a:ext uri="{FF2B5EF4-FFF2-40B4-BE49-F238E27FC236}">
                  <a16:creationId xmlns:a16="http://schemas.microsoft.com/office/drawing/2014/main" id="{A07C74DD-B9E0-3EFA-AEEA-B26FFA17A7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967" y="2682"/>
              <a:ext cx="83" cy="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pSp>
        <p:nvGrpSpPr>
          <p:cNvPr id="226" name="Group 4">
            <a:extLst>
              <a:ext uri="{FF2B5EF4-FFF2-40B4-BE49-F238E27FC236}">
                <a16:creationId xmlns:a16="http://schemas.microsoft.com/office/drawing/2014/main" id="{F55D000B-3C3D-BFA8-C3D1-E2049186154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33839" y="3570448"/>
            <a:ext cx="618104" cy="760983"/>
            <a:chOff x="401" y="1920"/>
            <a:chExt cx="597" cy="735"/>
          </a:xfrm>
          <a:solidFill>
            <a:schemeClr val="tx2"/>
          </a:solidFill>
        </p:grpSpPr>
        <p:sp>
          <p:nvSpPr>
            <p:cNvPr id="227" name="Freeform 5">
              <a:extLst>
                <a:ext uri="{FF2B5EF4-FFF2-40B4-BE49-F238E27FC236}">
                  <a16:creationId xmlns:a16="http://schemas.microsoft.com/office/drawing/2014/main" id="{9B7310D2-4D5D-B7C5-69EC-90CE2F888FA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2206"/>
              <a:ext cx="18" cy="28"/>
            </a:xfrm>
            <a:custGeom>
              <a:avLst/>
              <a:gdLst>
                <a:gd name="T0" fmla="*/ 54 w 54"/>
                <a:gd name="T1" fmla="*/ 0 h 88"/>
                <a:gd name="T2" fmla="*/ 13 w 54"/>
                <a:gd name="T3" fmla="*/ 21 h 88"/>
                <a:gd name="T4" fmla="*/ 4 w 54"/>
                <a:gd name="T5" fmla="*/ 67 h 88"/>
                <a:gd name="T6" fmla="*/ 10 w 54"/>
                <a:gd name="T7" fmla="*/ 77 h 88"/>
                <a:gd name="T8" fmla="*/ 2 w 54"/>
                <a:gd name="T9" fmla="*/ 79 h 88"/>
                <a:gd name="T10" fmla="*/ 0 w 54"/>
                <a:gd name="T11" fmla="*/ 88 h 88"/>
                <a:gd name="T12" fmla="*/ 50 w 54"/>
                <a:gd name="T13" fmla="*/ 44 h 88"/>
                <a:gd name="T14" fmla="*/ 54 w 54"/>
                <a:gd name="T15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88">
                  <a:moveTo>
                    <a:pt x="54" y="0"/>
                  </a:moveTo>
                  <a:cubicBezTo>
                    <a:pt x="13" y="21"/>
                    <a:pt x="13" y="21"/>
                    <a:pt x="13" y="21"/>
                  </a:cubicBezTo>
                  <a:cubicBezTo>
                    <a:pt x="4" y="67"/>
                    <a:pt x="4" y="67"/>
                    <a:pt x="4" y="67"/>
                  </a:cubicBezTo>
                  <a:cubicBezTo>
                    <a:pt x="10" y="77"/>
                    <a:pt x="10" y="77"/>
                    <a:pt x="10" y="77"/>
                  </a:cubicBezTo>
                  <a:cubicBezTo>
                    <a:pt x="7" y="78"/>
                    <a:pt x="4" y="79"/>
                    <a:pt x="2" y="79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50" y="44"/>
                    <a:pt x="50" y="44"/>
                    <a:pt x="50" y="44"/>
                  </a:cubicBez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28" name="Freeform 6">
              <a:extLst>
                <a:ext uri="{FF2B5EF4-FFF2-40B4-BE49-F238E27FC236}">
                  <a16:creationId xmlns:a16="http://schemas.microsoft.com/office/drawing/2014/main" id="{50C1B747-BA8E-3B97-F2EA-D166DA3532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" y="1964"/>
              <a:ext cx="82" cy="82"/>
            </a:xfrm>
            <a:custGeom>
              <a:avLst/>
              <a:gdLst>
                <a:gd name="T0" fmla="*/ 128 w 255"/>
                <a:gd name="T1" fmla="*/ 254 h 254"/>
                <a:gd name="T2" fmla="*/ 255 w 255"/>
                <a:gd name="T3" fmla="*/ 127 h 254"/>
                <a:gd name="T4" fmla="*/ 128 w 255"/>
                <a:gd name="T5" fmla="*/ 0 h 254"/>
                <a:gd name="T6" fmla="*/ 0 w 255"/>
                <a:gd name="T7" fmla="*/ 127 h 254"/>
                <a:gd name="T8" fmla="*/ 128 w 255"/>
                <a:gd name="T9" fmla="*/ 254 h 254"/>
                <a:gd name="T10" fmla="*/ 128 w 255"/>
                <a:gd name="T11" fmla="*/ 31 h 254"/>
                <a:gd name="T12" fmla="*/ 224 w 255"/>
                <a:gd name="T13" fmla="*/ 127 h 254"/>
                <a:gd name="T14" fmla="*/ 128 w 255"/>
                <a:gd name="T15" fmla="*/ 224 h 254"/>
                <a:gd name="T16" fmla="*/ 31 w 255"/>
                <a:gd name="T17" fmla="*/ 127 h 254"/>
                <a:gd name="T18" fmla="*/ 128 w 255"/>
                <a:gd name="T19" fmla="*/ 3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5" h="254">
                  <a:moveTo>
                    <a:pt x="128" y="254"/>
                  </a:moveTo>
                  <a:cubicBezTo>
                    <a:pt x="198" y="254"/>
                    <a:pt x="255" y="197"/>
                    <a:pt x="255" y="127"/>
                  </a:cubicBezTo>
                  <a:cubicBezTo>
                    <a:pt x="255" y="57"/>
                    <a:pt x="198" y="0"/>
                    <a:pt x="128" y="0"/>
                  </a:cubicBezTo>
                  <a:cubicBezTo>
                    <a:pt x="58" y="0"/>
                    <a:pt x="0" y="57"/>
                    <a:pt x="0" y="127"/>
                  </a:cubicBezTo>
                  <a:cubicBezTo>
                    <a:pt x="0" y="197"/>
                    <a:pt x="58" y="254"/>
                    <a:pt x="128" y="254"/>
                  </a:cubicBezTo>
                  <a:close/>
                  <a:moveTo>
                    <a:pt x="128" y="31"/>
                  </a:moveTo>
                  <a:cubicBezTo>
                    <a:pt x="181" y="31"/>
                    <a:pt x="224" y="74"/>
                    <a:pt x="224" y="127"/>
                  </a:cubicBezTo>
                  <a:cubicBezTo>
                    <a:pt x="224" y="180"/>
                    <a:pt x="181" y="224"/>
                    <a:pt x="128" y="224"/>
                  </a:cubicBezTo>
                  <a:cubicBezTo>
                    <a:pt x="74" y="224"/>
                    <a:pt x="31" y="180"/>
                    <a:pt x="31" y="127"/>
                  </a:cubicBezTo>
                  <a:cubicBezTo>
                    <a:pt x="31" y="74"/>
                    <a:pt x="74" y="31"/>
                    <a:pt x="128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29" name="Freeform 7">
              <a:extLst>
                <a:ext uri="{FF2B5EF4-FFF2-40B4-BE49-F238E27FC236}">
                  <a16:creationId xmlns:a16="http://schemas.microsoft.com/office/drawing/2014/main" id="{C623F923-112F-CE0B-A2C0-BC76BA3432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" y="1962"/>
              <a:ext cx="88" cy="87"/>
            </a:xfrm>
            <a:custGeom>
              <a:avLst/>
              <a:gdLst>
                <a:gd name="T0" fmla="*/ 136 w 271"/>
                <a:gd name="T1" fmla="*/ 271 h 271"/>
                <a:gd name="T2" fmla="*/ 0 w 271"/>
                <a:gd name="T3" fmla="*/ 135 h 271"/>
                <a:gd name="T4" fmla="*/ 136 w 271"/>
                <a:gd name="T5" fmla="*/ 0 h 271"/>
                <a:gd name="T6" fmla="*/ 271 w 271"/>
                <a:gd name="T7" fmla="*/ 135 h 271"/>
                <a:gd name="T8" fmla="*/ 136 w 271"/>
                <a:gd name="T9" fmla="*/ 271 h 271"/>
                <a:gd name="T10" fmla="*/ 136 w 271"/>
                <a:gd name="T11" fmla="*/ 16 h 271"/>
                <a:gd name="T12" fmla="*/ 17 w 271"/>
                <a:gd name="T13" fmla="*/ 135 h 271"/>
                <a:gd name="T14" fmla="*/ 136 w 271"/>
                <a:gd name="T15" fmla="*/ 254 h 271"/>
                <a:gd name="T16" fmla="*/ 255 w 271"/>
                <a:gd name="T17" fmla="*/ 135 h 271"/>
                <a:gd name="T18" fmla="*/ 136 w 271"/>
                <a:gd name="T19" fmla="*/ 16 h 271"/>
                <a:gd name="T20" fmla="*/ 136 w 271"/>
                <a:gd name="T21" fmla="*/ 240 h 271"/>
                <a:gd name="T22" fmla="*/ 31 w 271"/>
                <a:gd name="T23" fmla="*/ 135 h 271"/>
                <a:gd name="T24" fmla="*/ 136 w 271"/>
                <a:gd name="T25" fmla="*/ 30 h 271"/>
                <a:gd name="T26" fmla="*/ 241 w 271"/>
                <a:gd name="T27" fmla="*/ 135 h 271"/>
                <a:gd name="T28" fmla="*/ 136 w 271"/>
                <a:gd name="T29" fmla="*/ 240 h 271"/>
                <a:gd name="T30" fmla="*/ 136 w 271"/>
                <a:gd name="T31" fmla="*/ 47 h 271"/>
                <a:gd name="T32" fmla="*/ 47 w 271"/>
                <a:gd name="T33" fmla="*/ 135 h 271"/>
                <a:gd name="T34" fmla="*/ 136 w 271"/>
                <a:gd name="T35" fmla="*/ 224 h 271"/>
                <a:gd name="T36" fmla="*/ 224 w 271"/>
                <a:gd name="T37" fmla="*/ 135 h 271"/>
                <a:gd name="T38" fmla="*/ 136 w 271"/>
                <a:gd name="T39" fmla="*/ 4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1" h="271">
                  <a:moveTo>
                    <a:pt x="136" y="271"/>
                  </a:moveTo>
                  <a:cubicBezTo>
                    <a:pt x="61" y="271"/>
                    <a:pt x="0" y="210"/>
                    <a:pt x="0" y="135"/>
                  </a:cubicBezTo>
                  <a:cubicBezTo>
                    <a:pt x="0" y="61"/>
                    <a:pt x="61" y="0"/>
                    <a:pt x="136" y="0"/>
                  </a:cubicBezTo>
                  <a:cubicBezTo>
                    <a:pt x="210" y="0"/>
                    <a:pt x="271" y="61"/>
                    <a:pt x="271" y="135"/>
                  </a:cubicBezTo>
                  <a:cubicBezTo>
                    <a:pt x="271" y="210"/>
                    <a:pt x="210" y="271"/>
                    <a:pt x="136" y="271"/>
                  </a:cubicBezTo>
                  <a:close/>
                  <a:moveTo>
                    <a:pt x="136" y="16"/>
                  </a:moveTo>
                  <a:cubicBezTo>
                    <a:pt x="70" y="16"/>
                    <a:pt x="17" y="70"/>
                    <a:pt x="17" y="135"/>
                  </a:cubicBezTo>
                  <a:cubicBezTo>
                    <a:pt x="17" y="201"/>
                    <a:pt x="70" y="254"/>
                    <a:pt x="136" y="254"/>
                  </a:cubicBezTo>
                  <a:cubicBezTo>
                    <a:pt x="201" y="254"/>
                    <a:pt x="255" y="201"/>
                    <a:pt x="255" y="135"/>
                  </a:cubicBezTo>
                  <a:cubicBezTo>
                    <a:pt x="255" y="70"/>
                    <a:pt x="201" y="16"/>
                    <a:pt x="136" y="16"/>
                  </a:cubicBezTo>
                  <a:close/>
                  <a:moveTo>
                    <a:pt x="136" y="240"/>
                  </a:moveTo>
                  <a:cubicBezTo>
                    <a:pt x="78" y="240"/>
                    <a:pt x="31" y="193"/>
                    <a:pt x="31" y="135"/>
                  </a:cubicBezTo>
                  <a:cubicBezTo>
                    <a:pt x="31" y="77"/>
                    <a:pt x="78" y="30"/>
                    <a:pt x="136" y="30"/>
                  </a:cubicBezTo>
                  <a:cubicBezTo>
                    <a:pt x="193" y="30"/>
                    <a:pt x="241" y="77"/>
                    <a:pt x="241" y="135"/>
                  </a:cubicBezTo>
                  <a:cubicBezTo>
                    <a:pt x="241" y="193"/>
                    <a:pt x="193" y="240"/>
                    <a:pt x="136" y="240"/>
                  </a:cubicBezTo>
                  <a:close/>
                  <a:moveTo>
                    <a:pt x="136" y="47"/>
                  </a:moveTo>
                  <a:cubicBezTo>
                    <a:pt x="87" y="47"/>
                    <a:pt x="47" y="86"/>
                    <a:pt x="47" y="135"/>
                  </a:cubicBezTo>
                  <a:cubicBezTo>
                    <a:pt x="47" y="184"/>
                    <a:pt x="87" y="224"/>
                    <a:pt x="136" y="224"/>
                  </a:cubicBezTo>
                  <a:cubicBezTo>
                    <a:pt x="184" y="224"/>
                    <a:pt x="224" y="184"/>
                    <a:pt x="224" y="135"/>
                  </a:cubicBezTo>
                  <a:cubicBezTo>
                    <a:pt x="224" y="86"/>
                    <a:pt x="184" y="47"/>
                    <a:pt x="136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30" name="Freeform 8">
              <a:extLst>
                <a:ext uri="{FF2B5EF4-FFF2-40B4-BE49-F238E27FC236}">
                  <a16:creationId xmlns:a16="http://schemas.microsoft.com/office/drawing/2014/main" id="{BCF2AA7B-583C-5C02-BD36-FB0E6131879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" y="2205"/>
              <a:ext cx="29" cy="122"/>
            </a:xfrm>
            <a:custGeom>
              <a:avLst/>
              <a:gdLst>
                <a:gd name="T0" fmla="*/ 32 w 92"/>
                <a:gd name="T1" fmla="*/ 143 h 376"/>
                <a:gd name="T2" fmla="*/ 27 w 92"/>
                <a:gd name="T3" fmla="*/ 138 h 376"/>
                <a:gd name="T4" fmla="*/ 74 w 92"/>
                <a:gd name="T5" fmla="*/ 376 h 376"/>
                <a:gd name="T6" fmla="*/ 92 w 92"/>
                <a:gd name="T7" fmla="*/ 314 h 376"/>
                <a:gd name="T8" fmla="*/ 30 w 92"/>
                <a:gd name="T9" fmla="*/ 0 h 376"/>
                <a:gd name="T10" fmla="*/ 0 w 92"/>
                <a:gd name="T11" fmla="*/ 0 h 376"/>
                <a:gd name="T12" fmla="*/ 17 w 92"/>
                <a:gd name="T13" fmla="*/ 89 h 376"/>
                <a:gd name="T14" fmla="*/ 52 w 92"/>
                <a:gd name="T15" fmla="*/ 120 h 376"/>
                <a:gd name="T16" fmla="*/ 32 w 92"/>
                <a:gd name="T17" fmla="*/ 14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376">
                  <a:moveTo>
                    <a:pt x="32" y="143"/>
                  </a:moveTo>
                  <a:cubicBezTo>
                    <a:pt x="27" y="138"/>
                    <a:pt x="27" y="138"/>
                    <a:pt x="27" y="138"/>
                  </a:cubicBezTo>
                  <a:cubicBezTo>
                    <a:pt x="74" y="376"/>
                    <a:pt x="74" y="376"/>
                    <a:pt x="74" y="376"/>
                  </a:cubicBezTo>
                  <a:cubicBezTo>
                    <a:pt x="79" y="355"/>
                    <a:pt x="84" y="334"/>
                    <a:pt x="92" y="314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52" y="120"/>
                    <a:pt x="52" y="120"/>
                    <a:pt x="52" y="120"/>
                  </a:cubicBezTo>
                  <a:lnTo>
                    <a:pt x="32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31" name="Freeform 9">
              <a:extLst>
                <a:ext uri="{FF2B5EF4-FFF2-40B4-BE49-F238E27FC236}">
                  <a16:creationId xmlns:a16="http://schemas.microsoft.com/office/drawing/2014/main" id="{92FF9534-7782-9571-A252-93845E061B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7" y="2203"/>
              <a:ext cx="36" cy="136"/>
            </a:xfrm>
            <a:custGeom>
              <a:avLst/>
              <a:gdLst>
                <a:gd name="T0" fmla="*/ 83 w 110"/>
                <a:gd name="T1" fmla="*/ 423 h 423"/>
                <a:gd name="T2" fmla="*/ 24 w 110"/>
                <a:gd name="T3" fmla="*/ 124 h 423"/>
                <a:gd name="T4" fmla="*/ 41 w 110"/>
                <a:gd name="T5" fmla="*/ 139 h 423"/>
                <a:gd name="T6" fmla="*/ 51 w 110"/>
                <a:gd name="T7" fmla="*/ 129 h 423"/>
                <a:gd name="T8" fmla="*/ 20 w 110"/>
                <a:gd name="T9" fmla="*/ 101 h 423"/>
                <a:gd name="T10" fmla="*/ 0 w 110"/>
                <a:gd name="T11" fmla="*/ 0 h 423"/>
                <a:gd name="T12" fmla="*/ 46 w 110"/>
                <a:gd name="T13" fmla="*/ 0 h 423"/>
                <a:gd name="T14" fmla="*/ 71 w 110"/>
                <a:gd name="T15" fmla="*/ 124 h 423"/>
                <a:gd name="T16" fmla="*/ 72 w 110"/>
                <a:gd name="T17" fmla="*/ 129 h 423"/>
                <a:gd name="T18" fmla="*/ 110 w 110"/>
                <a:gd name="T19" fmla="*/ 323 h 423"/>
                <a:gd name="T20" fmla="*/ 109 w 110"/>
                <a:gd name="T21" fmla="*/ 325 h 423"/>
                <a:gd name="T22" fmla="*/ 92 w 110"/>
                <a:gd name="T23" fmla="*/ 385 h 423"/>
                <a:gd name="T24" fmla="*/ 83 w 110"/>
                <a:gd name="T25" fmla="*/ 423 h 423"/>
                <a:gd name="T26" fmla="*/ 47 w 110"/>
                <a:gd name="T27" fmla="*/ 157 h 423"/>
                <a:gd name="T28" fmla="*/ 85 w 110"/>
                <a:gd name="T29" fmla="*/ 347 h 423"/>
                <a:gd name="T30" fmla="*/ 93 w 110"/>
                <a:gd name="T31" fmla="*/ 322 h 423"/>
                <a:gd name="T32" fmla="*/ 58 w 110"/>
                <a:gd name="T33" fmla="*/ 145 h 423"/>
                <a:gd name="T34" fmla="*/ 47 w 110"/>
                <a:gd name="T35" fmla="*/ 157 h 423"/>
                <a:gd name="T36" fmla="*/ 35 w 110"/>
                <a:gd name="T37" fmla="*/ 93 h 423"/>
                <a:gd name="T38" fmla="*/ 51 w 110"/>
                <a:gd name="T39" fmla="*/ 107 h 423"/>
                <a:gd name="T40" fmla="*/ 33 w 110"/>
                <a:gd name="T41" fmla="*/ 16 h 423"/>
                <a:gd name="T42" fmla="*/ 20 w 110"/>
                <a:gd name="T43" fmla="*/ 16 h 423"/>
                <a:gd name="T44" fmla="*/ 35 w 110"/>
                <a:gd name="T45" fmla="*/ 93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0" h="423">
                  <a:moveTo>
                    <a:pt x="83" y="423"/>
                  </a:moveTo>
                  <a:cubicBezTo>
                    <a:pt x="24" y="124"/>
                    <a:pt x="24" y="124"/>
                    <a:pt x="24" y="124"/>
                  </a:cubicBezTo>
                  <a:cubicBezTo>
                    <a:pt x="41" y="139"/>
                    <a:pt x="41" y="139"/>
                    <a:pt x="41" y="139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20" y="101"/>
                    <a:pt x="20" y="101"/>
                    <a:pt x="20" y="10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71" y="124"/>
                    <a:pt x="71" y="124"/>
                    <a:pt x="71" y="124"/>
                  </a:cubicBezTo>
                  <a:cubicBezTo>
                    <a:pt x="72" y="129"/>
                    <a:pt x="72" y="129"/>
                    <a:pt x="72" y="129"/>
                  </a:cubicBezTo>
                  <a:cubicBezTo>
                    <a:pt x="110" y="323"/>
                    <a:pt x="110" y="323"/>
                    <a:pt x="110" y="323"/>
                  </a:cubicBezTo>
                  <a:cubicBezTo>
                    <a:pt x="109" y="325"/>
                    <a:pt x="109" y="325"/>
                    <a:pt x="109" y="325"/>
                  </a:cubicBezTo>
                  <a:cubicBezTo>
                    <a:pt x="102" y="344"/>
                    <a:pt x="96" y="365"/>
                    <a:pt x="92" y="385"/>
                  </a:cubicBezTo>
                  <a:lnTo>
                    <a:pt x="83" y="423"/>
                  </a:lnTo>
                  <a:close/>
                  <a:moveTo>
                    <a:pt x="47" y="157"/>
                  </a:moveTo>
                  <a:cubicBezTo>
                    <a:pt x="85" y="347"/>
                    <a:pt x="85" y="347"/>
                    <a:pt x="85" y="347"/>
                  </a:cubicBezTo>
                  <a:cubicBezTo>
                    <a:pt x="87" y="339"/>
                    <a:pt x="90" y="330"/>
                    <a:pt x="93" y="322"/>
                  </a:cubicBezTo>
                  <a:cubicBezTo>
                    <a:pt x="58" y="145"/>
                    <a:pt x="58" y="145"/>
                    <a:pt x="58" y="145"/>
                  </a:cubicBezTo>
                  <a:lnTo>
                    <a:pt x="47" y="157"/>
                  </a:lnTo>
                  <a:close/>
                  <a:moveTo>
                    <a:pt x="35" y="93"/>
                  </a:moveTo>
                  <a:cubicBezTo>
                    <a:pt x="51" y="107"/>
                    <a:pt x="51" y="107"/>
                    <a:pt x="51" y="107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35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32" name="Freeform 10">
              <a:extLst>
                <a:ext uri="{FF2B5EF4-FFF2-40B4-BE49-F238E27FC236}">
                  <a16:creationId xmlns:a16="http://schemas.microsoft.com/office/drawing/2014/main" id="{43A7DD13-3AA6-AC58-BDDB-DF81AA9B3C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" y="2234"/>
              <a:ext cx="11" cy="17"/>
            </a:xfrm>
            <a:custGeom>
              <a:avLst/>
              <a:gdLst>
                <a:gd name="T0" fmla="*/ 5 w 11"/>
                <a:gd name="T1" fmla="*/ 17 h 17"/>
                <a:gd name="T2" fmla="*/ 11 w 11"/>
                <a:gd name="T3" fmla="*/ 10 h 17"/>
                <a:gd name="T4" fmla="*/ 0 w 11"/>
                <a:gd name="T5" fmla="*/ 0 h 17"/>
                <a:gd name="T6" fmla="*/ 3 w 11"/>
                <a:gd name="T7" fmla="*/ 16 h 17"/>
                <a:gd name="T8" fmla="*/ 5 w 11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7">
                  <a:moveTo>
                    <a:pt x="5" y="17"/>
                  </a:moveTo>
                  <a:lnTo>
                    <a:pt x="11" y="10"/>
                  </a:lnTo>
                  <a:lnTo>
                    <a:pt x="0" y="0"/>
                  </a:lnTo>
                  <a:lnTo>
                    <a:pt x="3" y="16"/>
                  </a:lnTo>
                  <a:lnTo>
                    <a:pt x="5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33" name="Freeform 11">
              <a:extLst>
                <a:ext uri="{FF2B5EF4-FFF2-40B4-BE49-F238E27FC236}">
                  <a16:creationId xmlns:a16="http://schemas.microsoft.com/office/drawing/2014/main" id="{EA4B51E9-02B7-8582-8107-1BBF41C0F8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5" y="1964"/>
              <a:ext cx="83" cy="82"/>
            </a:xfrm>
            <a:custGeom>
              <a:avLst/>
              <a:gdLst>
                <a:gd name="T0" fmla="*/ 128 w 255"/>
                <a:gd name="T1" fmla="*/ 254 h 254"/>
                <a:gd name="T2" fmla="*/ 255 w 255"/>
                <a:gd name="T3" fmla="*/ 127 h 254"/>
                <a:gd name="T4" fmla="*/ 128 w 255"/>
                <a:gd name="T5" fmla="*/ 0 h 254"/>
                <a:gd name="T6" fmla="*/ 0 w 255"/>
                <a:gd name="T7" fmla="*/ 127 h 254"/>
                <a:gd name="T8" fmla="*/ 128 w 255"/>
                <a:gd name="T9" fmla="*/ 254 h 254"/>
                <a:gd name="T10" fmla="*/ 128 w 255"/>
                <a:gd name="T11" fmla="*/ 31 h 254"/>
                <a:gd name="T12" fmla="*/ 224 w 255"/>
                <a:gd name="T13" fmla="*/ 127 h 254"/>
                <a:gd name="T14" fmla="*/ 128 w 255"/>
                <a:gd name="T15" fmla="*/ 224 h 254"/>
                <a:gd name="T16" fmla="*/ 31 w 255"/>
                <a:gd name="T17" fmla="*/ 127 h 254"/>
                <a:gd name="T18" fmla="*/ 128 w 255"/>
                <a:gd name="T19" fmla="*/ 3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5" h="254">
                  <a:moveTo>
                    <a:pt x="128" y="254"/>
                  </a:moveTo>
                  <a:cubicBezTo>
                    <a:pt x="198" y="254"/>
                    <a:pt x="255" y="197"/>
                    <a:pt x="255" y="127"/>
                  </a:cubicBezTo>
                  <a:cubicBezTo>
                    <a:pt x="255" y="57"/>
                    <a:pt x="198" y="0"/>
                    <a:pt x="128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197"/>
                    <a:pt x="57" y="254"/>
                    <a:pt x="128" y="254"/>
                  </a:cubicBezTo>
                  <a:close/>
                  <a:moveTo>
                    <a:pt x="128" y="31"/>
                  </a:moveTo>
                  <a:cubicBezTo>
                    <a:pt x="181" y="31"/>
                    <a:pt x="224" y="74"/>
                    <a:pt x="224" y="127"/>
                  </a:cubicBezTo>
                  <a:cubicBezTo>
                    <a:pt x="224" y="180"/>
                    <a:pt x="181" y="224"/>
                    <a:pt x="128" y="224"/>
                  </a:cubicBezTo>
                  <a:cubicBezTo>
                    <a:pt x="74" y="224"/>
                    <a:pt x="31" y="180"/>
                    <a:pt x="31" y="127"/>
                  </a:cubicBezTo>
                  <a:cubicBezTo>
                    <a:pt x="31" y="74"/>
                    <a:pt x="74" y="31"/>
                    <a:pt x="128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34" name="Freeform 12">
              <a:extLst>
                <a:ext uri="{FF2B5EF4-FFF2-40B4-BE49-F238E27FC236}">
                  <a16:creationId xmlns:a16="http://schemas.microsoft.com/office/drawing/2014/main" id="{DBED35CA-95FD-0918-6E45-A791DA22D4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2" y="1962"/>
              <a:ext cx="88" cy="87"/>
            </a:xfrm>
            <a:custGeom>
              <a:avLst/>
              <a:gdLst>
                <a:gd name="T0" fmla="*/ 136 w 271"/>
                <a:gd name="T1" fmla="*/ 271 h 271"/>
                <a:gd name="T2" fmla="*/ 0 w 271"/>
                <a:gd name="T3" fmla="*/ 135 h 271"/>
                <a:gd name="T4" fmla="*/ 136 w 271"/>
                <a:gd name="T5" fmla="*/ 0 h 271"/>
                <a:gd name="T6" fmla="*/ 271 w 271"/>
                <a:gd name="T7" fmla="*/ 135 h 271"/>
                <a:gd name="T8" fmla="*/ 136 w 271"/>
                <a:gd name="T9" fmla="*/ 271 h 271"/>
                <a:gd name="T10" fmla="*/ 136 w 271"/>
                <a:gd name="T11" fmla="*/ 16 h 271"/>
                <a:gd name="T12" fmla="*/ 17 w 271"/>
                <a:gd name="T13" fmla="*/ 135 h 271"/>
                <a:gd name="T14" fmla="*/ 136 w 271"/>
                <a:gd name="T15" fmla="*/ 254 h 271"/>
                <a:gd name="T16" fmla="*/ 255 w 271"/>
                <a:gd name="T17" fmla="*/ 135 h 271"/>
                <a:gd name="T18" fmla="*/ 136 w 271"/>
                <a:gd name="T19" fmla="*/ 16 h 271"/>
                <a:gd name="T20" fmla="*/ 136 w 271"/>
                <a:gd name="T21" fmla="*/ 240 h 271"/>
                <a:gd name="T22" fmla="*/ 31 w 271"/>
                <a:gd name="T23" fmla="*/ 135 h 271"/>
                <a:gd name="T24" fmla="*/ 136 w 271"/>
                <a:gd name="T25" fmla="*/ 30 h 271"/>
                <a:gd name="T26" fmla="*/ 240 w 271"/>
                <a:gd name="T27" fmla="*/ 135 h 271"/>
                <a:gd name="T28" fmla="*/ 136 w 271"/>
                <a:gd name="T29" fmla="*/ 240 h 271"/>
                <a:gd name="T30" fmla="*/ 136 w 271"/>
                <a:gd name="T31" fmla="*/ 47 h 271"/>
                <a:gd name="T32" fmla="*/ 47 w 271"/>
                <a:gd name="T33" fmla="*/ 135 h 271"/>
                <a:gd name="T34" fmla="*/ 136 w 271"/>
                <a:gd name="T35" fmla="*/ 224 h 271"/>
                <a:gd name="T36" fmla="*/ 224 w 271"/>
                <a:gd name="T37" fmla="*/ 135 h 271"/>
                <a:gd name="T38" fmla="*/ 136 w 271"/>
                <a:gd name="T39" fmla="*/ 4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1" h="271">
                  <a:moveTo>
                    <a:pt x="136" y="271"/>
                  </a:moveTo>
                  <a:cubicBezTo>
                    <a:pt x="61" y="271"/>
                    <a:pt x="0" y="210"/>
                    <a:pt x="0" y="135"/>
                  </a:cubicBezTo>
                  <a:cubicBezTo>
                    <a:pt x="0" y="61"/>
                    <a:pt x="61" y="0"/>
                    <a:pt x="136" y="0"/>
                  </a:cubicBezTo>
                  <a:cubicBezTo>
                    <a:pt x="210" y="0"/>
                    <a:pt x="271" y="61"/>
                    <a:pt x="271" y="135"/>
                  </a:cubicBezTo>
                  <a:cubicBezTo>
                    <a:pt x="271" y="210"/>
                    <a:pt x="210" y="271"/>
                    <a:pt x="136" y="271"/>
                  </a:cubicBezTo>
                  <a:close/>
                  <a:moveTo>
                    <a:pt x="136" y="16"/>
                  </a:moveTo>
                  <a:cubicBezTo>
                    <a:pt x="70" y="16"/>
                    <a:pt x="17" y="70"/>
                    <a:pt x="17" y="135"/>
                  </a:cubicBezTo>
                  <a:cubicBezTo>
                    <a:pt x="17" y="201"/>
                    <a:pt x="70" y="254"/>
                    <a:pt x="136" y="254"/>
                  </a:cubicBezTo>
                  <a:cubicBezTo>
                    <a:pt x="201" y="254"/>
                    <a:pt x="255" y="201"/>
                    <a:pt x="255" y="135"/>
                  </a:cubicBezTo>
                  <a:cubicBezTo>
                    <a:pt x="255" y="70"/>
                    <a:pt x="201" y="16"/>
                    <a:pt x="136" y="16"/>
                  </a:cubicBezTo>
                  <a:close/>
                  <a:moveTo>
                    <a:pt x="136" y="240"/>
                  </a:moveTo>
                  <a:cubicBezTo>
                    <a:pt x="78" y="240"/>
                    <a:pt x="31" y="193"/>
                    <a:pt x="31" y="135"/>
                  </a:cubicBezTo>
                  <a:cubicBezTo>
                    <a:pt x="31" y="77"/>
                    <a:pt x="78" y="30"/>
                    <a:pt x="136" y="30"/>
                  </a:cubicBezTo>
                  <a:cubicBezTo>
                    <a:pt x="193" y="30"/>
                    <a:pt x="240" y="77"/>
                    <a:pt x="240" y="135"/>
                  </a:cubicBezTo>
                  <a:cubicBezTo>
                    <a:pt x="240" y="193"/>
                    <a:pt x="193" y="240"/>
                    <a:pt x="136" y="240"/>
                  </a:cubicBezTo>
                  <a:close/>
                  <a:moveTo>
                    <a:pt x="136" y="47"/>
                  </a:moveTo>
                  <a:cubicBezTo>
                    <a:pt x="87" y="47"/>
                    <a:pt x="47" y="86"/>
                    <a:pt x="47" y="135"/>
                  </a:cubicBezTo>
                  <a:cubicBezTo>
                    <a:pt x="47" y="184"/>
                    <a:pt x="87" y="224"/>
                    <a:pt x="136" y="224"/>
                  </a:cubicBezTo>
                  <a:cubicBezTo>
                    <a:pt x="184" y="224"/>
                    <a:pt x="224" y="184"/>
                    <a:pt x="224" y="135"/>
                  </a:cubicBezTo>
                  <a:cubicBezTo>
                    <a:pt x="224" y="86"/>
                    <a:pt x="184" y="47"/>
                    <a:pt x="136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35" name="Freeform 13">
              <a:extLst>
                <a:ext uri="{FF2B5EF4-FFF2-40B4-BE49-F238E27FC236}">
                  <a16:creationId xmlns:a16="http://schemas.microsoft.com/office/drawing/2014/main" id="{A5FDD9F9-0257-2C44-34AD-05A5094780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" y="2205"/>
              <a:ext cx="0" cy="1"/>
            </a:xfrm>
            <a:custGeom>
              <a:avLst/>
              <a:gdLst>
                <a:gd name="T0" fmla="*/ 0 h 1"/>
                <a:gd name="T1" fmla="*/ 1 h 1"/>
                <a:gd name="T2" fmla="*/ 0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36" name="Freeform 14">
              <a:extLst>
                <a:ext uri="{FF2B5EF4-FFF2-40B4-BE49-F238E27FC236}">
                  <a16:creationId xmlns:a16="http://schemas.microsoft.com/office/drawing/2014/main" id="{E385A106-2C9D-2FF0-B5E7-073BF1B0BEA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" y="2234"/>
              <a:ext cx="11" cy="17"/>
            </a:xfrm>
            <a:custGeom>
              <a:avLst/>
              <a:gdLst>
                <a:gd name="T0" fmla="*/ 0 w 11"/>
                <a:gd name="T1" fmla="*/ 10 h 17"/>
                <a:gd name="T2" fmla="*/ 6 w 11"/>
                <a:gd name="T3" fmla="*/ 17 h 17"/>
                <a:gd name="T4" fmla="*/ 8 w 11"/>
                <a:gd name="T5" fmla="*/ 16 h 17"/>
                <a:gd name="T6" fmla="*/ 11 w 11"/>
                <a:gd name="T7" fmla="*/ 0 h 17"/>
                <a:gd name="T8" fmla="*/ 0 w 11"/>
                <a:gd name="T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7">
                  <a:moveTo>
                    <a:pt x="0" y="10"/>
                  </a:moveTo>
                  <a:lnTo>
                    <a:pt x="6" y="17"/>
                  </a:lnTo>
                  <a:lnTo>
                    <a:pt x="8" y="16"/>
                  </a:lnTo>
                  <a:lnTo>
                    <a:pt x="11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37" name="Freeform 15">
              <a:extLst>
                <a:ext uri="{FF2B5EF4-FFF2-40B4-BE49-F238E27FC236}">
                  <a16:creationId xmlns:a16="http://schemas.microsoft.com/office/drawing/2014/main" id="{0C942AAC-AF70-FF6B-B743-7F634EF4E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" y="2307"/>
              <a:ext cx="339" cy="226"/>
            </a:xfrm>
            <a:custGeom>
              <a:avLst/>
              <a:gdLst>
                <a:gd name="T0" fmla="*/ 1032 w 1045"/>
                <a:gd name="T1" fmla="*/ 61 h 701"/>
                <a:gd name="T2" fmla="*/ 1014 w 1045"/>
                <a:gd name="T3" fmla="*/ 0 h 701"/>
                <a:gd name="T4" fmla="*/ 1001 w 1045"/>
                <a:gd name="T5" fmla="*/ 65 h 701"/>
                <a:gd name="T6" fmla="*/ 1013 w 1045"/>
                <a:gd name="T7" fmla="*/ 151 h 701"/>
                <a:gd name="T8" fmla="*/ 1014 w 1045"/>
                <a:gd name="T9" fmla="*/ 178 h 701"/>
                <a:gd name="T10" fmla="*/ 870 w 1045"/>
                <a:gd name="T11" fmla="*/ 526 h 701"/>
                <a:gd name="T12" fmla="*/ 522 w 1045"/>
                <a:gd name="T13" fmla="*/ 670 h 701"/>
                <a:gd name="T14" fmla="*/ 174 w 1045"/>
                <a:gd name="T15" fmla="*/ 526 h 701"/>
                <a:gd name="T16" fmla="*/ 30 w 1045"/>
                <a:gd name="T17" fmla="*/ 178 h 701"/>
                <a:gd name="T18" fmla="*/ 31 w 1045"/>
                <a:gd name="T19" fmla="*/ 151 h 701"/>
                <a:gd name="T20" fmla="*/ 43 w 1045"/>
                <a:gd name="T21" fmla="*/ 65 h 701"/>
                <a:gd name="T22" fmla="*/ 31 w 1045"/>
                <a:gd name="T23" fmla="*/ 0 h 701"/>
                <a:gd name="T24" fmla="*/ 13 w 1045"/>
                <a:gd name="T25" fmla="*/ 62 h 701"/>
                <a:gd name="T26" fmla="*/ 0 w 1045"/>
                <a:gd name="T27" fmla="*/ 178 h 701"/>
                <a:gd name="T28" fmla="*/ 522 w 1045"/>
                <a:gd name="T29" fmla="*/ 701 h 701"/>
                <a:gd name="T30" fmla="*/ 1045 w 1045"/>
                <a:gd name="T31" fmla="*/ 178 h 701"/>
                <a:gd name="T32" fmla="*/ 1032 w 1045"/>
                <a:gd name="T33" fmla="*/ 61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45" h="701">
                  <a:moveTo>
                    <a:pt x="1032" y="61"/>
                  </a:moveTo>
                  <a:cubicBezTo>
                    <a:pt x="1027" y="40"/>
                    <a:pt x="1021" y="20"/>
                    <a:pt x="1014" y="0"/>
                  </a:cubicBezTo>
                  <a:cubicBezTo>
                    <a:pt x="1001" y="65"/>
                    <a:pt x="1001" y="65"/>
                    <a:pt x="1001" y="65"/>
                  </a:cubicBezTo>
                  <a:cubicBezTo>
                    <a:pt x="1008" y="93"/>
                    <a:pt x="1012" y="122"/>
                    <a:pt x="1013" y="151"/>
                  </a:cubicBezTo>
                  <a:cubicBezTo>
                    <a:pt x="1014" y="160"/>
                    <a:pt x="1014" y="169"/>
                    <a:pt x="1014" y="178"/>
                  </a:cubicBezTo>
                  <a:cubicBezTo>
                    <a:pt x="1014" y="314"/>
                    <a:pt x="959" y="437"/>
                    <a:pt x="870" y="526"/>
                  </a:cubicBezTo>
                  <a:cubicBezTo>
                    <a:pt x="781" y="615"/>
                    <a:pt x="658" y="670"/>
                    <a:pt x="522" y="670"/>
                  </a:cubicBezTo>
                  <a:cubicBezTo>
                    <a:pt x="386" y="670"/>
                    <a:pt x="263" y="615"/>
                    <a:pt x="174" y="526"/>
                  </a:cubicBezTo>
                  <a:cubicBezTo>
                    <a:pt x="85" y="437"/>
                    <a:pt x="30" y="314"/>
                    <a:pt x="30" y="178"/>
                  </a:cubicBezTo>
                  <a:cubicBezTo>
                    <a:pt x="30" y="169"/>
                    <a:pt x="31" y="160"/>
                    <a:pt x="31" y="151"/>
                  </a:cubicBezTo>
                  <a:cubicBezTo>
                    <a:pt x="33" y="122"/>
                    <a:pt x="37" y="93"/>
                    <a:pt x="43" y="65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3" y="20"/>
                    <a:pt x="18" y="41"/>
                    <a:pt x="13" y="62"/>
                  </a:cubicBezTo>
                  <a:cubicBezTo>
                    <a:pt x="4" y="99"/>
                    <a:pt x="0" y="138"/>
                    <a:pt x="0" y="178"/>
                  </a:cubicBezTo>
                  <a:cubicBezTo>
                    <a:pt x="0" y="467"/>
                    <a:pt x="234" y="701"/>
                    <a:pt x="522" y="701"/>
                  </a:cubicBezTo>
                  <a:cubicBezTo>
                    <a:pt x="811" y="701"/>
                    <a:pt x="1045" y="467"/>
                    <a:pt x="1045" y="178"/>
                  </a:cubicBezTo>
                  <a:cubicBezTo>
                    <a:pt x="1045" y="138"/>
                    <a:pt x="1040" y="99"/>
                    <a:pt x="1032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38" name="Freeform 16">
              <a:extLst>
                <a:ext uri="{FF2B5EF4-FFF2-40B4-BE49-F238E27FC236}">
                  <a16:creationId xmlns:a16="http://schemas.microsoft.com/office/drawing/2014/main" id="{F17F07B4-5432-AB13-907F-A35ED1757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" y="2297"/>
              <a:ext cx="345" cy="238"/>
            </a:xfrm>
            <a:custGeom>
              <a:avLst/>
              <a:gdLst>
                <a:gd name="T0" fmla="*/ 531 w 1062"/>
                <a:gd name="T1" fmla="*/ 739 h 739"/>
                <a:gd name="T2" fmla="*/ 0 w 1062"/>
                <a:gd name="T3" fmla="*/ 208 h 739"/>
                <a:gd name="T4" fmla="*/ 14 w 1062"/>
                <a:gd name="T5" fmla="*/ 90 h 739"/>
                <a:gd name="T6" fmla="*/ 32 w 1062"/>
                <a:gd name="T7" fmla="*/ 28 h 739"/>
                <a:gd name="T8" fmla="*/ 42 w 1062"/>
                <a:gd name="T9" fmla="*/ 0 h 739"/>
                <a:gd name="T10" fmla="*/ 61 w 1062"/>
                <a:gd name="T11" fmla="*/ 95 h 739"/>
                <a:gd name="T12" fmla="*/ 60 w 1062"/>
                <a:gd name="T13" fmla="*/ 97 h 739"/>
                <a:gd name="T14" fmla="*/ 48 w 1062"/>
                <a:gd name="T15" fmla="*/ 182 h 739"/>
                <a:gd name="T16" fmla="*/ 47 w 1062"/>
                <a:gd name="T17" fmla="*/ 208 h 739"/>
                <a:gd name="T18" fmla="*/ 189 w 1062"/>
                <a:gd name="T19" fmla="*/ 550 h 739"/>
                <a:gd name="T20" fmla="*/ 531 w 1062"/>
                <a:gd name="T21" fmla="*/ 692 h 739"/>
                <a:gd name="T22" fmla="*/ 873 w 1062"/>
                <a:gd name="T23" fmla="*/ 550 h 739"/>
                <a:gd name="T24" fmla="*/ 1015 w 1062"/>
                <a:gd name="T25" fmla="*/ 208 h 739"/>
                <a:gd name="T26" fmla="*/ 1014 w 1062"/>
                <a:gd name="T27" fmla="*/ 182 h 739"/>
                <a:gd name="T28" fmla="*/ 1002 w 1062"/>
                <a:gd name="T29" fmla="*/ 97 h 739"/>
                <a:gd name="T30" fmla="*/ 1002 w 1062"/>
                <a:gd name="T31" fmla="*/ 95 h 739"/>
                <a:gd name="T32" fmla="*/ 1020 w 1062"/>
                <a:gd name="T33" fmla="*/ 0 h 739"/>
                <a:gd name="T34" fmla="*/ 1030 w 1062"/>
                <a:gd name="T35" fmla="*/ 27 h 739"/>
                <a:gd name="T36" fmla="*/ 1049 w 1062"/>
                <a:gd name="T37" fmla="*/ 89 h 739"/>
                <a:gd name="T38" fmla="*/ 1049 w 1062"/>
                <a:gd name="T39" fmla="*/ 89 h 739"/>
                <a:gd name="T40" fmla="*/ 1062 w 1062"/>
                <a:gd name="T41" fmla="*/ 208 h 739"/>
                <a:gd name="T42" fmla="*/ 531 w 1062"/>
                <a:gd name="T43" fmla="*/ 739 h 739"/>
                <a:gd name="T44" fmla="*/ 38 w 1062"/>
                <a:gd name="T45" fmla="*/ 63 h 739"/>
                <a:gd name="T46" fmla="*/ 30 w 1062"/>
                <a:gd name="T47" fmla="*/ 93 h 739"/>
                <a:gd name="T48" fmla="*/ 17 w 1062"/>
                <a:gd name="T49" fmla="*/ 208 h 739"/>
                <a:gd name="T50" fmla="*/ 531 w 1062"/>
                <a:gd name="T51" fmla="*/ 723 h 739"/>
                <a:gd name="T52" fmla="*/ 1046 w 1062"/>
                <a:gd name="T53" fmla="*/ 208 h 739"/>
                <a:gd name="T54" fmla="*/ 1033 w 1062"/>
                <a:gd name="T55" fmla="*/ 93 h 739"/>
                <a:gd name="T56" fmla="*/ 1033 w 1062"/>
                <a:gd name="T57" fmla="*/ 93 h 739"/>
                <a:gd name="T58" fmla="*/ 1025 w 1062"/>
                <a:gd name="T59" fmla="*/ 62 h 739"/>
                <a:gd name="T60" fmla="*/ 1018 w 1062"/>
                <a:gd name="T61" fmla="*/ 95 h 739"/>
                <a:gd name="T62" fmla="*/ 1031 w 1062"/>
                <a:gd name="T63" fmla="*/ 181 h 739"/>
                <a:gd name="T64" fmla="*/ 1031 w 1062"/>
                <a:gd name="T65" fmla="*/ 208 h 739"/>
                <a:gd name="T66" fmla="*/ 885 w 1062"/>
                <a:gd name="T67" fmla="*/ 562 h 739"/>
                <a:gd name="T68" fmla="*/ 531 w 1062"/>
                <a:gd name="T69" fmla="*/ 709 h 739"/>
                <a:gd name="T70" fmla="*/ 178 w 1062"/>
                <a:gd name="T71" fmla="*/ 562 h 739"/>
                <a:gd name="T72" fmla="*/ 31 w 1062"/>
                <a:gd name="T73" fmla="*/ 208 h 739"/>
                <a:gd name="T74" fmla="*/ 32 w 1062"/>
                <a:gd name="T75" fmla="*/ 181 h 739"/>
                <a:gd name="T76" fmla="*/ 44 w 1062"/>
                <a:gd name="T77" fmla="*/ 95 h 739"/>
                <a:gd name="T78" fmla="*/ 38 w 1062"/>
                <a:gd name="T79" fmla="*/ 63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62" h="739">
                  <a:moveTo>
                    <a:pt x="531" y="739"/>
                  </a:moveTo>
                  <a:cubicBezTo>
                    <a:pt x="239" y="739"/>
                    <a:pt x="0" y="501"/>
                    <a:pt x="0" y="208"/>
                  </a:cubicBezTo>
                  <a:cubicBezTo>
                    <a:pt x="0" y="169"/>
                    <a:pt x="5" y="129"/>
                    <a:pt x="14" y="90"/>
                  </a:cubicBezTo>
                  <a:cubicBezTo>
                    <a:pt x="19" y="68"/>
                    <a:pt x="25" y="47"/>
                    <a:pt x="32" y="2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60" y="97"/>
                    <a:pt x="60" y="97"/>
                    <a:pt x="60" y="97"/>
                  </a:cubicBezTo>
                  <a:cubicBezTo>
                    <a:pt x="54" y="125"/>
                    <a:pt x="50" y="154"/>
                    <a:pt x="48" y="182"/>
                  </a:cubicBezTo>
                  <a:cubicBezTo>
                    <a:pt x="48" y="191"/>
                    <a:pt x="47" y="199"/>
                    <a:pt x="47" y="208"/>
                  </a:cubicBezTo>
                  <a:cubicBezTo>
                    <a:pt x="47" y="338"/>
                    <a:pt x="98" y="459"/>
                    <a:pt x="189" y="550"/>
                  </a:cubicBezTo>
                  <a:cubicBezTo>
                    <a:pt x="281" y="642"/>
                    <a:pt x="402" y="692"/>
                    <a:pt x="531" y="692"/>
                  </a:cubicBezTo>
                  <a:cubicBezTo>
                    <a:pt x="660" y="692"/>
                    <a:pt x="782" y="642"/>
                    <a:pt x="873" y="550"/>
                  </a:cubicBezTo>
                  <a:cubicBezTo>
                    <a:pt x="965" y="459"/>
                    <a:pt x="1015" y="338"/>
                    <a:pt x="1015" y="208"/>
                  </a:cubicBezTo>
                  <a:cubicBezTo>
                    <a:pt x="1015" y="199"/>
                    <a:pt x="1015" y="191"/>
                    <a:pt x="1014" y="182"/>
                  </a:cubicBezTo>
                  <a:cubicBezTo>
                    <a:pt x="1013" y="154"/>
                    <a:pt x="1009" y="125"/>
                    <a:pt x="1002" y="97"/>
                  </a:cubicBezTo>
                  <a:cubicBezTo>
                    <a:pt x="1002" y="95"/>
                    <a:pt x="1002" y="95"/>
                    <a:pt x="1002" y="95"/>
                  </a:cubicBezTo>
                  <a:cubicBezTo>
                    <a:pt x="1020" y="0"/>
                    <a:pt x="1020" y="0"/>
                    <a:pt x="1020" y="0"/>
                  </a:cubicBezTo>
                  <a:cubicBezTo>
                    <a:pt x="1030" y="27"/>
                    <a:pt x="1030" y="27"/>
                    <a:pt x="1030" y="27"/>
                  </a:cubicBezTo>
                  <a:cubicBezTo>
                    <a:pt x="1037" y="47"/>
                    <a:pt x="1044" y="68"/>
                    <a:pt x="1049" y="89"/>
                  </a:cubicBezTo>
                  <a:cubicBezTo>
                    <a:pt x="1049" y="89"/>
                    <a:pt x="1049" y="89"/>
                    <a:pt x="1049" y="89"/>
                  </a:cubicBezTo>
                  <a:cubicBezTo>
                    <a:pt x="1058" y="129"/>
                    <a:pt x="1062" y="169"/>
                    <a:pt x="1062" y="208"/>
                  </a:cubicBezTo>
                  <a:cubicBezTo>
                    <a:pt x="1062" y="501"/>
                    <a:pt x="824" y="739"/>
                    <a:pt x="531" y="739"/>
                  </a:cubicBezTo>
                  <a:close/>
                  <a:moveTo>
                    <a:pt x="38" y="63"/>
                  </a:moveTo>
                  <a:cubicBezTo>
                    <a:pt x="35" y="73"/>
                    <a:pt x="32" y="83"/>
                    <a:pt x="30" y="93"/>
                  </a:cubicBezTo>
                  <a:cubicBezTo>
                    <a:pt x="21" y="131"/>
                    <a:pt x="17" y="170"/>
                    <a:pt x="17" y="208"/>
                  </a:cubicBezTo>
                  <a:cubicBezTo>
                    <a:pt x="17" y="492"/>
                    <a:pt x="248" y="723"/>
                    <a:pt x="531" y="723"/>
                  </a:cubicBezTo>
                  <a:cubicBezTo>
                    <a:pt x="815" y="723"/>
                    <a:pt x="1046" y="492"/>
                    <a:pt x="1046" y="208"/>
                  </a:cubicBezTo>
                  <a:cubicBezTo>
                    <a:pt x="1046" y="170"/>
                    <a:pt x="1041" y="131"/>
                    <a:pt x="1033" y="93"/>
                  </a:cubicBezTo>
                  <a:cubicBezTo>
                    <a:pt x="1033" y="93"/>
                    <a:pt x="1033" y="93"/>
                    <a:pt x="1033" y="93"/>
                  </a:cubicBezTo>
                  <a:cubicBezTo>
                    <a:pt x="1030" y="83"/>
                    <a:pt x="1028" y="72"/>
                    <a:pt x="1025" y="62"/>
                  </a:cubicBezTo>
                  <a:cubicBezTo>
                    <a:pt x="1018" y="95"/>
                    <a:pt x="1018" y="95"/>
                    <a:pt x="1018" y="95"/>
                  </a:cubicBezTo>
                  <a:cubicBezTo>
                    <a:pt x="1025" y="123"/>
                    <a:pt x="1029" y="152"/>
                    <a:pt x="1031" y="181"/>
                  </a:cubicBezTo>
                  <a:cubicBezTo>
                    <a:pt x="1031" y="190"/>
                    <a:pt x="1031" y="199"/>
                    <a:pt x="1031" y="208"/>
                  </a:cubicBezTo>
                  <a:cubicBezTo>
                    <a:pt x="1031" y="342"/>
                    <a:pt x="979" y="468"/>
                    <a:pt x="885" y="562"/>
                  </a:cubicBezTo>
                  <a:cubicBezTo>
                    <a:pt x="790" y="657"/>
                    <a:pt x="665" y="709"/>
                    <a:pt x="531" y="709"/>
                  </a:cubicBezTo>
                  <a:cubicBezTo>
                    <a:pt x="398" y="709"/>
                    <a:pt x="272" y="657"/>
                    <a:pt x="178" y="562"/>
                  </a:cubicBezTo>
                  <a:cubicBezTo>
                    <a:pt x="83" y="468"/>
                    <a:pt x="31" y="342"/>
                    <a:pt x="31" y="208"/>
                  </a:cubicBezTo>
                  <a:cubicBezTo>
                    <a:pt x="31" y="199"/>
                    <a:pt x="31" y="190"/>
                    <a:pt x="32" y="181"/>
                  </a:cubicBezTo>
                  <a:cubicBezTo>
                    <a:pt x="33" y="152"/>
                    <a:pt x="38" y="124"/>
                    <a:pt x="44" y="95"/>
                  </a:cubicBezTo>
                  <a:lnTo>
                    <a:pt x="38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39" name="Freeform 17">
              <a:extLst>
                <a:ext uri="{FF2B5EF4-FFF2-40B4-BE49-F238E27FC236}">
                  <a16:creationId xmlns:a16="http://schemas.microsoft.com/office/drawing/2014/main" id="{324DD7E2-0873-52E6-C942-9C41E1D2F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0" y="2437"/>
              <a:ext cx="6" cy="6"/>
            </a:xfrm>
            <a:custGeom>
              <a:avLst/>
              <a:gdLst>
                <a:gd name="T0" fmla="*/ 0 w 19"/>
                <a:gd name="T1" fmla="*/ 13 h 18"/>
                <a:gd name="T2" fmla="*/ 15 w 19"/>
                <a:gd name="T3" fmla="*/ 18 h 18"/>
                <a:gd name="T4" fmla="*/ 19 w 19"/>
                <a:gd name="T5" fmla="*/ 6 h 18"/>
                <a:gd name="T6" fmla="*/ 8 w 19"/>
                <a:gd name="T7" fmla="*/ 0 h 18"/>
                <a:gd name="T8" fmla="*/ 0 w 19"/>
                <a:gd name="T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0" y="13"/>
                  </a:moveTo>
                  <a:cubicBezTo>
                    <a:pt x="15" y="18"/>
                    <a:pt x="15" y="18"/>
                    <a:pt x="15" y="18"/>
                  </a:cubicBezTo>
                  <a:cubicBezTo>
                    <a:pt x="16" y="14"/>
                    <a:pt x="17" y="10"/>
                    <a:pt x="19" y="6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40" name="Freeform 18">
              <a:extLst>
                <a:ext uri="{FF2B5EF4-FFF2-40B4-BE49-F238E27FC236}">
                  <a16:creationId xmlns:a16="http://schemas.microsoft.com/office/drawing/2014/main" id="{DD2B2E5B-4BA3-0D97-E535-3861BEA3D7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" y="2537"/>
              <a:ext cx="6" cy="6"/>
            </a:xfrm>
            <a:custGeom>
              <a:avLst/>
              <a:gdLst>
                <a:gd name="T0" fmla="*/ 0 w 19"/>
                <a:gd name="T1" fmla="*/ 7 h 19"/>
                <a:gd name="T2" fmla="*/ 10 w 19"/>
                <a:gd name="T3" fmla="*/ 19 h 19"/>
                <a:gd name="T4" fmla="*/ 19 w 19"/>
                <a:gd name="T5" fmla="*/ 11 h 19"/>
                <a:gd name="T6" fmla="*/ 13 w 19"/>
                <a:gd name="T7" fmla="*/ 0 h 19"/>
                <a:gd name="T8" fmla="*/ 0 w 19"/>
                <a:gd name="T9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0" y="7"/>
                  </a:moveTo>
                  <a:cubicBezTo>
                    <a:pt x="10" y="19"/>
                    <a:pt x="10" y="19"/>
                    <a:pt x="10" y="19"/>
                  </a:cubicBezTo>
                  <a:cubicBezTo>
                    <a:pt x="13" y="16"/>
                    <a:pt x="16" y="13"/>
                    <a:pt x="19" y="11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41" name="Freeform 19">
              <a:extLst>
                <a:ext uri="{FF2B5EF4-FFF2-40B4-BE49-F238E27FC236}">
                  <a16:creationId xmlns:a16="http://schemas.microsoft.com/office/drawing/2014/main" id="{26680A52-A6A8-4504-84E6-6B5009D254D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" y="2315"/>
              <a:ext cx="5" cy="5"/>
            </a:xfrm>
            <a:custGeom>
              <a:avLst/>
              <a:gdLst>
                <a:gd name="T0" fmla="*/ 0 w 16"/>
                <a:gd name="T1" fmla="*/ 16 h 16"/>
                <a:gd name="T2" fmla="*/ 16 w 16"/>
                <a:gd name="T3" fmla="*/ 13 h 16"/>
                <a:gd name="T4" fmla="*/ 13 w 16"/>
                <a:gd name="T5" fmla="*/ 1 h 16"/>
                <a:gd name="T6" fmla="*/ 1 w 16"/>
                <a:gd name="T7" fmla="*/ 0 h 16"/>
                <a:gd name="T8" fmla="*/ 0 w 16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0" y="16"/>
                  </a:moveTo>
                  <a:cubicBezTo>
                    <a:pt x="16" y="13"/>
                    <a:pt x="16" y="13"/>
                    <a:pt x="16" y="13"/>
                  </a:cubicBezTo>
                  <a:cubicBezTo>
                    <a:pt x="15" y="9"/>
                    <a:pt x="14" y="5"/>
                    <a:pt x="13" y="1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42" name="Freeform 20">
              <a:extLst>
                <a:ext uri="{FF2B5EF4-FFF2-40B4-BE49-F238E27FC236}">
                  <a16:creationId xmlns:a16="http://schemas.microsoft.com/office/drawing/2014/main" id="{A41DD253-E0B0-C62E-7351-8844A151A8C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" y="2578"/>
              <a:ext cx="6" cy="5"/>
            </a:xfrm>
            <a:custGeom>
              <a:avLst/>
              <a:gdLst>
                <a:gd name="T0" fmla="*/ 13 w 19"/>
                <a:gd name="T1" fmla="*/ 0 h 18"/>
                <a:gd name="T2" fmla="*/ 0 w 19"/>
                <a:gd name="T3" fmla="*/ 8 h 18"/>
                <a:gd name="T4" fmla="*/ 7 w 19"/>
                <a:gd name="T5" fmla="*/ 18 h 18"/>
                <a:gd name="T6" fmla="*/ 19 w 19"/>
                <a:gd name="T7" fmla="*/ 14 h 18"/>
                <a:gd name="T8" fmla="*/ 13 w 19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3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11" y="17"/>
                    <a:pt x="15" y="16"/>
                    <a:pt x="19" y="14"/>
                  </a:cubicBez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43" name="Freeform 21">
              <a:extLst>
                <a:ext uri="{FF2B5EF4-FFF2-40B4-BE49-F238E27FC236}">
                  <a16:creationId xmlns:a16="http://schemas.microsoft.com/office/drawing/2014/main" id="{97F56214-5DD0-5BCE-8B8C-281CDF678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" y="2315"/>
              <a:ext cx="5" cy="5"/>
            </a:xfrm>
            <a:custGeom>
              <a:avLst/>
              <a:gdLst>
                <a:gd name="T0" fmla="*/ 15 w 15"/>
                <a:gd name="T1" fmla="*/ 16 h 16"/>
                <a:gd name="T2" fmla="*/ 14 w 15"/>
                <a:gd name="T3" fmla="*/ 0 h 16"/>
                <a:gd name="T4" fmla="*/ 2 w 15"/>
                <a:gd name="T5" fmla="*/ 1 h 16"/>
                <a:gd name="T6" fmla="*/ 0 w 15"/>
                <a:gd name="T7" fmla="*/ 13 h 16"/>
                <a:gd name="T8" fmla="*/ 15 w 15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15" y="16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5"/>
                    <a:pt x="1" y="9"/>
                    <a:pt x="0" y="13"/>
                  </a:cubicBezTo>
                  <a:lnTo>
                    <a:pt x="15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44" name="Freeform 22">
              <a:extLst>
                <a:ext uri="{FF2B5EF4-FFF2-40B4-BE49-F238E27FC236}">
                  <a16:creationId xmlns:a16="http://schemas.microsoft.com/office/drawing/2014/main" id="{A47AE588-F5FE-B0BD-0D90-8AF39B457AC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0" y="2273"/>
              <a:ext cx="6" cy="6"/>
            </a:xfrm>
            <a:custGeom>
              <a:avLst/>
              <a:gdLst>
                <a:gd name="T0" fmla="*/ 0 w 19"/>
                <a:gd name="T1" fmla="*/ 5 h 18"/>
                <a:gd name="T2" fmla="*/ 8 w 19"/>
                <a:gd name="T3" fmla="*/ 18 h 18"/>
                <a:gd name="T4" fmla="*/ 19 w 19"/>
                <a:gd name="T5" fmla="*/ 11 h 18"/>
                <a:gd name="T6" fmla="*/ 15 w 19"/>
                <a:gd name="T7" fmla="*/ 0 h 18"/>
                <a:gd name="T8" fmla="*/ 0 w 19"/>
                <a:gd name="T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0" y="5"/>
                  </a:moveTo>
                  <a:cubicBezTo>
                    <a:pt x="8" y="18"/>
                    <a:pt x="8" y="18"/>
                    <a:pt x="8" y="18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7" y="7"/>
                    <a:pt x="16" y="3"/>
                    <a:pt x="15" y="0"/>
                  </a:cubicBez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45" name="Freeform 23">
              <a:extLst>
                <a:ext uri="{FF2B5EF4-FFF2-40B4-BE49-F238E27FC236}">
                  <a16:creationId xmlns:a16="http://schemas.microsoft.com/office/drawing/2014/main" id="{F715685E-854F-2E6A-7684-90BB3A86C3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" y="2273"/>
              <a:ext cx="6" cy="6"/>
            </a:xfrm>
            <a:custGeom>
              <a:avLst/>
              <a:gdLst>
                <a:gd name="T0" fmla="*/ 18 w 18"/>
                <a:gd name="T1" fmla="*/ 5 h 18"/>
                <a:gd name="T2" fmla="*/ 4 w 18"/>
                <a:gd name="T3" fmla="*/ 0 h 18"/>
                <a:gd name="T4" fmla="*/ 0 w 18"/>
                <a:gd name="T5" fmla="*/ 11 h 18"/>
                <a:gd name="T6" fmla="*/ 10 w 18"/>
                <a:gd name="T7" fmla="*/ 18 h 18"/>
                <a:gd name="T8" fmla="*/ 18 w 18"/>
                <a:gd name="T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8" y="5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3"/>
                    <a:pt x="1" y="7"/>
                    <a:pt x="0" y="11"/>
                  </a:cubicBezTo>
                  <a:cubicBezTo>
                    <a:pt x="10" y="18"/>
                    <a:pt x="10" y="18"/>
                    <a:pt x="10" y="18"/>
                  </a:cubicBezTo>
                  <a:lnTo>
                    <a:pt x="18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46" name="Freeform 24">
              <a:extLst>
                <a:ext uri="{FF2B5EF4-FFF2-40B4-BE49-F238E27FC236}">
                  <a16:creationId xmlns:a16="http://schemas.microsoft.com/office/drawing/2014/main" id="{2D9C3BEE-0323-5C53-D180-12672D1F2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" y="2590"/>
              <a:ext cx="6" cy="4"/>
            </a:xfrm>
            <a:custGeom>
              <a:avLst/>
              <a:gdLst>
                <a:gd name="T0" fmla="*/ 0 w 16"/>
                <a:gd name="T1" fmla="*/ 0 h 15"/>
                <a:gd name="T2" fmla="*/ 3 w 16"/>
                <a:gd name="T3" fmla="*/ 15 h 15"/>
                <a:gd name="T4" fmla="*/ 15 w 16"/>
                <a:gd name="T5" fmla="*/ 13 h 15"/>
                <a:gd name="T6" fmla="*/ 16 w 16"/>
                <a:gd name="T7" fmla="*/ 1 h 15"/>
                <a:gd name="T8" fmla="*/ 0 w 16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0" y="0"/>
                  </a:moveTo>
                  <a:cubicBezTo>
                    <a:pt x="3" y="15"/>
                    <a:pt x="3" y="15"/>
                    <a:pt x="3" y="15"/>
                  </a:cubicBezTo>
                  <a:cubicBezTo>
                    <a:pt x="7" y="15"/>
                    <a:pt x="11" y="14"/>
                    <a:pt x="15" y="13"/>
                  </a:cubicBezTo>
                  <a:cubicBezTo>
                    <a:pt x="16" y="1"/>
                    <a:pt x="16" y="1"/>
                    <a:pt x="16" y="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47" name="Freeform 25">
              <a:extLst>
                <a:ext uri="{FF2B5EF4-FFF2-40B4-BE49-F238E27FC236}">
                  <a16:creationId xmlns:a16="http://schemas.microsoft.com/office/drawing/2014/main" id="{3CA84DF1-DF9D-5906-6AB9-53EBC4A063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" y="2506"/>
              <a:ext cx="6" cy="7"/>
            </a:xfrm>
            <a:custGeom>
              <a:avLst/>
              <a:gdLst>
                <a:gd name="T0" fmla="*/ 8 w 19"/>
                <a:gd name="T1" fmla="*/ 0 h 20"/>
                <a:gd name="T2" fmla="*/ 0 w 19"/>
                <a:gd name="T3" fmla="*/ 14 h 20"/>
                <a:gd name="T4" fmla="*/ 11 w 19"/>
                <a:gd name="T5" fmla="*/ 20 h 20"/>
                <a:gd name="T6" fmla="*/ 19 w 19"/>
                <a:gd name="T7" fmla="*/ 10 h 20"/>
                <a:gd name="T8" fmla="*/ 8 w 19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8" y="0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4" y="16"/>
                    <a:pt x="17" y="13"/>
                    <a:pt x="19" y="10"/>
                  </a:cubicBezTo>
                  <a:lnTo>
                    <a:pt x="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48" name="Freeform 26">
              <a:extLst>
                <a:ext uri="{FF2B5EF4-FFF2-40B4-BE49-F238E27FC236}">
                  <a16:creationId xmlns:a16="http://schemas.microsoft.com/office/drawing/2014/main" id="{A5ACE2ED-A517-EDFB-6736-2E5D95B15D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" y="2578"/>
              <a:ext cx="6" cy="5"/>
            </a:xfrm>
            <a:custGeom>
              <a:avLst/>
              <a:gdLst>
                <a:gd name="T0" fmla="*/ 5 w 18"/>
                <a:gd name="T1" fmla="*/ 0 h 18"/>
                <a:gd name="T2" fmla="*/ 0 w 18"/>
                <a:gd name="T3" fmla="*/ 14 h 18"/>
                <a:gd name="T4" fmla="*/ 12 w 18"/>
                <a:gd name="T5" fmla="*/ 18 h 18"/>
                <a:gd name="T6" fmla="*/ 18 w 18"/>
                <a:gd name="T7" fmla="*/ 8 h 18"/>
                <a:gd name="T8" fmla="*/ 5 w 1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5" y="0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4" y="16"/>
                    <a:pt x="8" y="17"/>
                    <a:pt x="12" y="18"/>
                  </a:cubicBezTo>
                  <a:cubicBezTo>
                    <a:pt x="18" y="8"/>
                    <a:pt x="18" y="8"/>
                    <a:pt x="18" y="8"/>
                  </a:cubicBez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49" name="Freeform 27">
              <a:extLst>
                <a:ext uri="{FF2B5EF4-FFF2-40B4-BE49-F238E27FC236}">
                  <a16:creationId xmlns:a16="http://schemas.microsoft.com/office/drawing/2014/main" id="{EC2C31F4-D29B-D833-8DCF-800D63BFB0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" y="2537"/>
              <a:ext cx="6" cy="6"/>
            </a:xfrm>
            <a:custGeom>
              <a:avLst/>
              <a:gdLst>
                <a:gd name="T0" fmla="*/ 20 w 20"/>
                <a:gd name="T1" fmla="*/ 7 h 19"/>
                <a:gd name="T2" fmla="*/ 6 w 20"/>
                <a:gd name="T3" fmla="*/ 0 h 19"/>
                <a:gd name="T4" fmla="*/ 0 w 20"/>
                <a:gd name="T5" fmla="*/ 11 h 19"/>
                <a:gd name="T6" fmla="*/ 10 w 20"/>
                <a:gd name="T7" fmla="*/ 19 h 19"/>
                <a:gd name="T8" fmla="*/ 20 w 20"/>
                <a:gd name="T9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9">
                  <a:moveTo>
                    <a:pt x="20" y="7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13"/>
                    <a:pt x="7" y="16"/>
                    <a:pt x="10" y="19"/>
                  </a:cubicBezTo>
                  <a:lnTo>
                    <a:pt x="2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50" name="Freeform 28">
              <a:extLst>
                <a:ext uri="{FF2B5EF4-FFF2-40B4-BE49-F238E27FC236}">
                  <a16:creationId xmlns:a16="http://schemas.microsoft.com/office/drawing/2014/main" id="{5CDBCBF1-0441-5D32-4C7E-5FBFEC1F32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" y="2176"/>
              <a:ext cx="591" cy="476"/>
            </a:xfrm>
            <a:custGeom>
              <a:avLst/>
              <a:gdLst>
                <a:gd name="T0" fmla="*/ 1646 w 1824"/>
                <a:gd name="T1" fmla="*/ 684 h 1477"/>
                <a:gd name="T2" fmla="*/ 1824 w 1824"/>
                <a:gd name="T3" fmla="*/ 440 h 1477"/>
                <a:gd name="T4" fmla="*/ 1630 w 1824"/>
                <a:gd name="T5" fmla="*/ 448 h 1477"/>
                <a:gd name="T6" fmla="*/ 1612 w 1824"/>
                <a:gd name="T7" fmla="*/ 313 h 1477"/>
                <a:gd name="T8" fmla="*/ 1608 w 1824"/>
                <a:gd name="T9" fmla="*/ 302 h 1477"/>
                <a:gd name="T10" fmla="*/ 1639 w 1824"/>
                <a:gd name="T11" fmla="*/ 0 h 1477"/>
                <a:gd name="T12" fmla="*/ 1627 w 1824"/>
                <a:gd name="T13" fmla="*/ 41 h 1477"/>
                <a:gd name="T14" fmla="*/ 1579 w 1824"/>
                <a:gd name="T15" fmla="*/ 312 h 1477"/>
                <a:gd name="T16" fmla="*/ 1793 w 1824"/>
                <a:gd name="T17" fmla="*/ 469 h 1477"/>
                <a:gd name="T18" fmla="*/ 1615 w 1824"/>
                <a:gd name="T19" fmla="*/ 680 h 1477"/>
                <a:gd name="T20" fmla="*/ 1723 w 1824"/>
                <a:gd name="T21" fmla="*/ 923 h 1477"/>
                <a:gd name="T22" fmla="*/ 1464 w 1824"/>
                <a:gd name="T23" fmla="*/ 1016 h 1477"/>
                <a:gd name="T24" fmla="*/ 1436 w 1824"/>
                <a:gd name="T25" fmla="*/ 1280 h 1477"/>
                <a:gd name="T26" fmla="*/ 1165 w 1824"/>
                <a:gd name="T27" fmla="*/ 1231 h 1477"/>
                <a:gd name="T28" fmla="*/ 1008 w 1824"/>
                <a:gd name="T29" fmla="*/ 1446 h 1477"/>
                <a:gd name="T30" fmla="*/ 797 w 1824"/>
                <a:gd name="T31" fmla="*/ 1268 h 1477"/>
                <a:gd name="T32" fmla="*/ 555 w 1824"/>
                <a:gd name="T33" fmla="*/ 1376 h 1477"/>
                <a:gd name="T34" fmla="*/ 461 w 1824"/>
                <a:gd name="T35" fmla="*/ 1116 h 1477"/>
                <a:gd name="T36" fmla="*/ 197 w 1824"/>
                <a:gd name="T37" fmla="*/ 1088 h 1477"/>
                <a:gd name="T38" fmla="*/ 246 w 1824"/>
                <a:gd name="T39" fmla="*/ 817 h 1477"/>
                <a:gd name="T40" fmla="*/ 31 w 1824"/>
                <a:gd name="T41" fmla="*/ 660 h 1477"/>
                <a:gd name="T42" fmla="*/ 209 w 1824"/>
                <a:gd name="T43" fmla="*/ 450 h 1477"/>
                <a:gd name="T44" fmla="*/ 101 w 1824"/>
                <a:gd name="T45" fmla="*/ 207 h 1477"/>
                <a:gd name="T46" fmla="*/ 258 w 1824"/>
                <a:gd name="T47" fmla="*/ 39 h 1477"/>
                <a:gd name="T48" fmla="*/ 213 w 1824"/>
                <a:gd name="T49" fmla="*/ 313 h 1477"/>
                <a:gd name="T50" fmla="*/ 223 w 1824"/>
                <a:gd name="T51" fmla="*/ 320 h 1477"/>
                <a:gd name="T52" fmla="*/ 193 w 1824"/>
                <a:gd name="T53" fmla="*/ 432 h 1477"/>
                <a:gd name="T54" fmla="*/ 181 w 1824"/>
                <a:gd name="T55" fmla="*/ 433 h 1477"/>
                <a:gd name="T56" fmla="*/ 181 w 1824"/>
                <a:gd name="T57" fmla="*/ 697 h 1477"/>
                <a:gd name="T58" fmla="*/ 193 w 1824"/>
                <a:gd name="T59" fmla="*/ 697 h 1477"/>
                <a:gd name="T60" fmla="*/ 223 w 1824"/>
                <a:gd name="T61" fmla="*/ 810 h 1477"/>
                <a:gd name="T62" fmla="*/ 213 w 1824"/>
                <a:gd name="T63" fmla="*/ 816 h 1477"/>
                <a:gd name="T64" fmla="*/ 345 w 1824"/>
                <a:gd name="T65" fmla="*/ 1045 h 1477"/>
                <a:gd name="T66" fmla="*/ 356 w 1824"/>
                <a:gd name="T67" fmla="*/ 1039 h 1477"/>
                <a:gd name="T68" fmla="*/ 438 w 1824"/>
                <a:gd name="T69" fmla="*/ 1121 h 1477"/>
                <a:gd name="T70" fmla="*/ 432 w 1824"/>
                <a:gd name="T71" fmla="*/ 1132 h 1477"/>
                <a:gd name="T72" fmla="*/ 661 w 1824"/>
                <a:gd name="T73" fmla="*/ 1264 h 1477"/>
                <a:gd name="T74" fmla="*/ 667 w 1824"/>
                <a:gd name="T75" fmla="*/ 1254 h 1477"/>
                <a:gd name="T76" fmla="*/ 780 w 1824"/>
                <a:gd name="T77" fmla="*/ 1284 h 1477"/>
                <a:gd name="T78" fmla="*/ 780 w 1824"/>
                <a:gd name="T79" fmla="*/ 1296 h 1477"/>
                <a:gd name="T80" fmla="*/ 1044 w 1824"/>
                <a:gd name="T81" fmla="*/ 1296 h 1477"/>
                <a:gd name="T82" fmla="*/ 1045 w 1824"/>
                <a:gd name="T83" fmla="*/ 1284 h 1477"/>
                <a:gd name="T84" fmla="*/ 1157 w 1824"/>
                <a:gd name="T85" fmla="*/ 1254 h 1477"/>
                <a:gd name="T86" fmla="*/ 1164 w 1824"/>
                <a:gd name="T87" fmla="*/ 1264 h 1477"/>
                <a:gd name="T88" fmla="*/ 1392 w 1824"/>
                <a:gd name="T89" fmla="*/ 1132 h 1477"/>
                <a:gd name="T90" fmla="*/ 1386 w 1824"/>
                <a:gd name="T91" fmla="*/ 1121 h 1477"/>
                <a:gd name="T92" fmla="*/ 1468 w 1824"/>
                <a:gd name="T93" fmla="*/ 1039 h 1477"/>
                <a:gd name="T94" fmla="*/ 1479 w 1824"/>
                <a:gd name="T95" fmla="*/ 1045 h 1477"/>
                <a:gd name="T96" fmla="*/ 1612 w 1824"/>
                <a:gd name="T97" fmla="*/ 816 h 1477"/>
                <a:gd name="T98" fmla="*/ 1601 w 1824"/>
                <a:gd name="T99" fmla="*/ 810 h 1477"/>
                <a:gd name="T100" fmla="*/ 1631 w 1824"/>
                <a:gd name="T101" fmla="*/ 697 h 1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24" h="1477">
                  <a:moveTo>
                    <a:pt x="1631" y="697"/>
                  </a:moveTo>
                  <a:cubicBezTo>
                    <a:pt x="1630" y="682"/>
                    <a:pt x="1630" y="682"/>
                    <a:pt x="1630" y="682"/>
                  </a:cubicBezTo>
                  <a:cubicBezTo>
                    <a:pt x="1646" y="684"/>
                    <a:pt x="1646" y="684"/>
                    <a:pt x="1646" y="684"/>
                  </a:cubicBezTo>
                  <a:cubicBezTo>
                    <a:pt x="1645" y="689"/>
                    <a:pt x="1644" y="693"/>
                    <a:pt x="1643" y="697"/>
                  </a:cubicBezTo>
                  <a:cubicBezTo>
                    <a:pt x="1824" y="690"/>
                    <a:pt x="1824" y="690"/>
                    <a:pt x="1824" y="690"/>
                  </a:cubicBezTo>
                  <a:cubicBezTo>
                    <a:pt x="1824" y="440"/>
                    <a:pt x="1824" y="440"/>
                    <a:pt x="1824" y="440"/>
                  </a:cubicBezTo>
                  <a:cubicBezTo>
                    <a:pt x="1643" y="433"/>
                    <a:pt x="1643" y="433"/>
                    <a:pt x="1643" y="433"/>
                  </a:cubicBezTo>
                  <a:cubicBezTo>
                    <a:pt x="1644" y="437"/>
                    <a:pt x="1645" y="441"/>
                    <a:pt x="1646" y="445"/>
                  </a:cubicBezTo>
                  <a:cubicBezTo>
                    <a:pt x="1630" y="448"/>
                    <a:pt x="1630" y="448"/>
                    <a:pt x="1630" y="448"/>
                  </a:cubicBezTo>
                  <a:cubicBezTo>
                    <a:pt x="1631" y="432"/>
                    <a:pt x="1631" y="432"/>
                    <a:pt x="1631" y="432"/>
                  </a:cubicBezTo>
                  <a:cubicBezTo>
                    <a:pt x="1643" y="433"/>
                    <a:pt x="1643" y="433"/>
                    <a:pt x="1643" y="433"/>
                  </a:cubicBezTo>
                  <a:cubicBezTo>
                    <a:pt x="1636" y="392"/>
                    <a:pt x="1625" y="352"/>
                    <a:pt x="1612" y="313"/>
                  </a:cubicBezTo>
                  <a:cubicBezTo>
                    <a:pt x="1601" y="320"/>
                    <a:pt x="1601" y="320"/>
                    <a:pt x="1601" y="320"/>
                  </a:cubicBezTo>
                  <a:cubicBezTo>
                    <a:pt x="1593" y="307"/>
                    <a:pt x="1593" y="307"/>
                    <a:pt x="1593" y="307"/>
                  </a:cubicBezTo>
                  <a:cubicBezTo>
                    <a:pt x="1608" y="302"/>
                    <a:pt x="1608" y="302"/>
                    <a:pt x="1608" y="302"/>
                  </a:cubicBezTo>
                  <a:cubicBezTo>
                    <a:pt x="1609" y="305"/>
                    <a:pt x="1610" y="309"/>
                    <a:pt x="1612" y="313"/>
                  </a:cubicBezTo>
                  <a:cubicBezTo>
                    <a:pt x="1764" y="217"/>
                    <a:pt x="1764" y="217"/>
                    <a:pt x="1764" y="217"/>
                  </a:cubicBezTo>
                  <a:cubicBezTo>
                    <a:pt x="1639" y="0"/>
                    <a:pt x="1639" y="0"/>
                    <a:pt x="1639" y="0"/>
                  </a:cubicBezTo>
                  <a:cubicBezTo>
                    <a:pt x="1567" y="39"/>
                    <a:pt x="1567" y="39"/>
                    <a:pt x="1567" y="39"/>
                  </a:cubicBezTo>
                  <a:cubicBezTo>
                    <a:pt x="1564" y="75"/>
                    <a:pt x="1564" y="75"/>
                    <a:pt x="1564" y="75"/>
                  </a:cubicBezTo>
                  <a:cubicBezTo>
                    <a:pt x="1627" y="41"/>
                    <a:pt x="1627" y="41"/>
                    <a:pt x="1627" y="41"/>
                  </a:cubicBezTo>
                  <a:cubicBezTo>
                    <a:pt x="1723" y="207"/>
                    <a:pt x="1723" y="207"/>
                    <a:pt x="1723" y="207"/>
                  </a:cubicBezTo>
                  <a:cubicBezTo>
                    <a:pt x="1574" y="301"/>
                    <a:pt x="1574" y="301"/>
                    <a:pt x="1574" y="301"/>
                  </a:cubicBezTo>
                  <a:cubicBezTo>
                    <a:pt x="1579" y="312"/>
                    <a:pt x="1579" y="312"/>
                    <a:pt x="1579" y="312"/>
                  </a:cubicBezTo>
                  <a:cubicBezTo>
                    <a:pt x="1595" y="356"/>
                    <a:pt x="1608" y="402"/>
                    <a:pt x="1615" y="450"/>
                  </a:cubicBezTo>
                  <a:cubicBezTo>
                    <a:pt x="1617" y="462"/>
                    <a:pt x="1617" y="462"/>
                    <a:pt x="1617" y="462"/>
                  </a:cubicBezTo>
                  <a:cubicBezTo>
                    <a:pt x="1793" y="469"/>
                    <a:pt x="1793" y="469"/>
                    <a:pt x="1793" y="469"/>
                  </a:cubicBezTo>
                  <a:cubicBezTo>
                    <a:pt x="1793" y="660"/>
                    <a:pt x="1793" y="660"/>
                    <a:pt x="1793" y="660"/>
                  </a:cubicBezTo>
                  <a:cubicBezTo>
                    <a:pt x="1617" y="667"/>
                    <a:pt x="1617" y="667"/>
                    <a:pt x="1617" y="667"/>
                  </a:cubicBezTo>
                  <a:cubicBezTo>
                    <a:pt x="1615" y="680"/>
                    <a:pt x="1615" y="680"/>
                    <a:pt x="1615" y="680"/>
                  </a:cubicBezTo>
                  <a:cubicBezTo>
                    <a:pt x="1608" y="727"/>
                    <a:pt x="1595" y="773"/>
                    <a:pt x="1579" y="817"/>
                  </a:cubicBezTo>
                  <a:cubicBezTo>
                    <a:pt x="1574" y="829"/>
                    <a:pt x="1574" y="829"/>
                    <a:pt x="1574" y="829"/>
                  </a:cubicBezTo>
                  <a:cubicBezTo>
                    <a:pt x="1723" y="923"/>
                    <a:pt x="1723" y="923"/>
                    <a:pt x="1723" y="923"/>
                  </a:cubicBezTo>
                  <a:cubicBezTo>
                    <a:pt x="1627" y="1088"/>
                    <a:pt x="1627" y="1088"/>
                    <a:pt x="1627" y="1088"/>
                  </a:cubicBezTo>
                  <a:cubicBezTo>
                    <a:pt x="1472" y="1006"/>
                    <a:pt x="1472" y="1006"/>
                    <a:pt x="1472" y="1006"/>
                  </a:cubicBezTo>
                  <a:cubicBezTo>
                    <a:pt x="1464" y="1016"/>
                    <a:pt x="1464" y="1016"/>
                    <a:pt x="1464" y="1016"/>
                  </a:cubicBezTo>
                  <a:cubicBezTo>
                    <a:pt x="1434" y="1052"/>
                    <a:pt x="1400" y="1086"/>
                    <a:pt x="1363" y="1116"/>
                  </a:cubicBezTo>
                  <a:cubicBezTo>
                    <a:pt x="1353" y="1124"/>
                    <a:pt x="1353" y="1124"/>
                    <a:pt x="1353" y="1124"/>
                  </a:cubicBezTo>
                  <a:cubicBezTo>
                    <a:pt x="1436" y="1280"/>
                    <a:pt x="1436" y="1280"/>
                    <a:pt x="1436" y="1280"/>
                  </a:cubicBezTo>
                  <a:cubicBezTo>
                    <a:pt x="1270" y="1376"/>
                    <a:pt x="1270" y="1376"/>
                    <a:pt x="1270" y="1376"/>
                  </a:cubicBezTo>
                  <a:cubicBezTo>
                    <a:pt x="1176" y="1227"/>
                    <a:pt x="1176" y="1227"/>
                    <a:pt x="1176" y="1227"/>
                  </a:cubicBezTo>
                  <a:cubicBezTo>
                    <a:pt x="1165" y="1231"/>
                    <a:pt x="1165" y="1231"/>
                    <a:pt x="1165" y="1231"/>
                  </a:cubicBezTo>
                  <a:cubicBezTo>
                    <a:pt x="1121" y="1248"/>
                    <a:pt x="1075" y="1260"/>
                    <a:pt x="1027" y="1268"/>
                  </a:cubicBezTo>
                  <a:cubicBezTo>
                    <a:pt x="1015" y="1270"/>
                    <a:pt x="1015" y="1270"/>
                    <a:pt x="1015" y="1270"/>
                  </a:cubicBezTo>
                  <a:cubicBezTo>
                    <a:pt x="1008" y="1446"/>
                    <a:pt x="1008" y="1446"/>
                    <a:pt x="1008" y="1446"/>
                  </a:cubicBezTo>
                  <a:cubicBezTo>
                    <a:pt x="817" y="1446"/>
                    <a:pt x="817" y="1446"/>
                    <a:pt x="817" y="1446"/>
                  </a:cubicBezTo>
                  <a:cubicBezTo>
                    <a:pt x="810" y="1270"/>
                    <a:pt x="810" y="1270"/>
                    <a:pt x="810" y="1270"/>
                  </a:cubicBezTo>
                  <a:cubicBezTo>
                    <a:pt x="797" y="1268"/>
                    <a:pt x="797" y="1268"/>
                    <a:pt x="797" y="1268"/>
                  </a:cubicBezTo>
                  <a:cubicBezTo>
                    <a:pt x="750" y="1260"/>
                    <a:pt x="704" y="1248"/>
                    <a:pt x="660" y="1231"/>
                  </a:cubicBezTo>
                  <a:cubicBezTo>
                    <a:pt x="648" y="1227"/>
                    <a:pt x="648" y="1227"/>
                    <a:pt x="648" y="1227"/>
                  </a:cubicBezTo>
                  <a:cubicBezTo>
                    <a:pt x="555" y="1376"/>
                    <a:pt x="555" y="1376"/>
                    <a:pt x="555" y="1376"/>
                  </a:cubicBezTo>
                  <a:cubicBezTo>
                    <a:pt x="389" y="1280"/>
                    <a:pt x="389" y="1280"/>
                    <a:pt x="389" y="1280"/>
                  </a:cubicBezTo>
                  <a:cubicBezTo>
                    <a:pt x="471" y="1124"/>
                    <a:pt x="471" y="1124"/>
                    <a:pt x="471" y="1124"/>
                  </a:cubicBezTo>
                  <a:cubicBezTo>
                    <a:pt x="461" y="1116"/>
                    <a:pt x="461" y="1116"/>
                    <a:pt x="461" y="1116"/>
                  </a:cubicBezTo>
                  <a:cubicBezTo>
                    <a:pt x="425" y="1086"/>
                    <a:pt x="391" y="1052"/>
                    <a:pt x="361" y="1016"/>
                  </a:cubicBezTo>
                  <a:cubicBezTo>
                    <a:pt x="353" y="1006"/>
                    <a:pt x="353" y="1006"/>
                    <a:pt x="353" y="1006"/>
                  </a:cubicBezTo>
                  <a:cubicBezTo>
                    <a:pt x="197" y="1088"/>
                    <a:pt x="197" y="1088"/>
                    <a:pt x="197" y="1088"/>
                  </a:cubicBezTo>
                  <a:cubicBezTo>
                    <a:pt x="101" y="923"/>
                    <a:pt x="101" y="923"/>
                    <a:pt x="101" y="923"/>
                  </a:cubicBezTo>
                  <a:cubicBezTo>
                    <a:pt x="250" y="829"/>
                    <a:pt x="250" y="829"/>
                    <a:pt x="250" y="829"/>
                  </a:cubicBezTo>
                  <a:cubicBezTo>
                    <a:pt x="246" y="817"/>
                    <a:pt x="246" y="817"/>
                    <a:pt x="246" y="817"/>
                  </a:cubicBezTo>
                  <a:cubicBezTo>
                    <a:pt x="229" y="773"/>
                    <a:pt x="217" y="727"/>
                    <a:pt x="209" y="680"/>
                  </a:cubicBezTo>
                  <a:cubicBezTo>
                    <a:pt x="207" y="667"/>
                    <a:pt x="207" y="667"/>
                    <a:pt x="207" y="667"/>
                  </a:cubicBezTo>
                  <a:cubicBezTo>
                    <a:pt x="31" y="660"/>
                    <a:pt x="31" y="660"/>
                    <a:pt x="31" y="660"/>
                  </a:cubicBezTo>
                  <a:cubicBezTo>
                    <a:pt x="31" y="469"/>
                    <a:pt x="31" y="469"/>
                    <a:pt x="31" y="469"/>
                  </a:cubicBezTo>
                  <a:cubicBezTo>
                    <a:pt x="207" y="462"/>
                    <a:pt x="207" y="462"/>
                    <a:pt x="207" y="462"/>
                  </a:cubicBezTo>
                  <a:cubicBezTo>
                    <a:pt x="209" y="450"/>
                    <a:pt x="209" y="450"/>
                    <a:pt x="209" y="450"/>
                  </a:cubicBezTo>
                  <a:cubicBezTo>
                    <a:pt x="217" y="402"/>
                    <a:pt x="229" y="356"/>
                    <a:pt x="246" y="312"/>
                  </a:cubicBezTo>
                  <a:cubicBezTo>
                    <a:pt x="250" y="301"/>
                    <a:pt x="250" y="301"/>
                    <a:pt x="250" y="301"/>
                  </a:cubicBezTo>
                  <a:cubicBezTo>
                    <a:pt x="101" y="207"/>
                    <a:pt x="101" y="207"/>
                    <a:pt x="101" y="207"/>
                  </a:cubicBezTo>
                  <a:cubicBezTo>
                    <a:pt x="197" y="41"/>
                    <a:pt x="197" y="41"/>
                    <a:pt x="197" y="41"/>
                  </a:cubicBezTo>
                  <a:cubicBezTo>
                    <a:pt x="261" y="75"/>
                    <a:pt x="261" y="75"/>
                    <a:pt x="261" y="75"/>
                  </a:cubicBezTo>
                  <a:cubicBezTo>
                    <a:pt x="258" y="39"/>
                    <a:pt x="258" y="39"/>
                    <a:pt x="258" y="39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60" y="217"/>
                    <a:pt x="60" y="217"/>
                    <a:pt x="60" y="217"/>
                  </a:cubicBezTo>
                  <a:cubicBezTo>
                    <a:pt x="213" y="313"/>
                    <a:pt x="213" y="313"/>
                    <a:pt x="213" y="313"/>
                  </a:cubicBezTo>
                  <a:cubicBezTo>
                    <a:pt x="214" y="309"/>
                    <a:pt x="215" y="305"/>
                    <a:pt x="217" y="302"/>
                  </a:cubicBezTo>
                  <a:cubicBezTo>
                    <a:pt x="231" y="307"/>
                    <a:pt x="231" y="307"/>
                    <a:pt x="231" y="307"/>
                  </a:cubicBezTo>
                  <a:cubicBezTo>
                    <a:pt x="223" y="320"/>
                    <a:pt x="223" y="320"/>
                    <a:pt x="223" y="320"/>
                  </a:cubicBezTo>
                  <a:cubicBezTo>
                    <a:pt x="213" y="313"/>
                    <a:pt x="213" y="313"/>
                    <a:pt x="213" y="313"/>
                  </a:cubicBezTo>
                  <a:cubicBezTo>
                    <a:pt x="199" y="352"/>
                    <a:pt x="188" y="392"/>
                    <a:pt x="181" y="433"/>
                  </a:cubicBezTo>
                  <a:cubicBezTo>
                    <a:pt x="193" y="432"/>
                    <a:pt x="193" y="432"/>
                    <a:pt x="193" y="432"/>
                  </a:cubicBezTo>
                  <a:cubicBezTo>
                    <a:pt x="194" y="448"/>
                    <a:pt x="194" y="448"/>
                    <a:pt x="194" y="448"/>
                  </a:cubicBezTo>
                  <a:cubicBezTo>
                    <a:pt x="179" y="445"/>
                    <a:pt x="179" y="445"/>
                    <a:pt x="179" y="445"/>
                  </a:cubicBezTo>
                  <a:cubicBezTo>
                    <a:pt x="180" y="441"/>
                    <a:pt x="180" y="437"/>
                    <a:pt x="181" y="433"/>
                  </a:cubicBezTo>
                  <a:cubicBezTo>
                    <a:pt x="0" y="440"/>
                    <a:pt x="0" y="440"/>
                    <a:pt x="0" y="440"/>
                  </a:cubicBezTo>
                  <a:cubicBezTo>
                    <a:pt x="0" y="690"/>
                    <a:pt x="0" y="690"/>
                    <a:pt x="0" y="690"/>
                  </a:cubicBezTo>
                  <a:cubicBezTo>
                    <a:pt x="181" y="697"/>
                    <a:pt x="181" y="697"/>
                    <a:pt x="181" y="697"/>
                  </a:cubicBezTo>
                  <a:cubicBezTo>
                    <a:pt x="180" y="693"/>
                    <a:pt x="180" y="689"/>
                    <a:pt x="179" y="684"/>
                  </a:cubicBezTo>
                  <a:cubicBezTo>
                    <a:pt x="194" y="682"/>
                    <a:pt x="194" y="682"/>
                    <a:pt x="194" y="682"/>
                  </a:cubicBezTo>
                  <a:cubicBezTo>
                    <a:pt x="193" y="697"/>
                    <a:pt x="193" y="697"/>
                    <a:pt x="193" y="697"/>
                  </a:cubicBezTo>
                  <a:cubicBezTo>
                    <a:pt x="181" y="697"/>
                    <a:pt x="181" y="697"/>
                    <a:pt x="181" y="697"/>
                  </a:cubicBezTo>
                  <a:cubicBezTo>
                    <a:pt x="188" y="738"/>
                    <a:pt x="199" y="778"/>
                    <a:pt x="213" y="816"/>
                  </a:cubicBezTo>
                  <a:cubicBezTo>
                    <a:pt x="223" y="810"/>
                    <a:pt x="223" y="810"/>
                    <a:pt x="223" y="810"/>
                  </a:cubicBezTo>
                  <a:cubicBezTo>
                    <a:pt x="231" y="823"/>
                    <a:pt x="231" y="823"/>
                    <a:pt x="231" y="823"/>
                  </a:cubicBezTo>
                  <a:cubicBezTo>
                    <a:pt x="217" y="828"/>
                    <a:pt x="217" y="828"/>
                    <a:pt x="217" y="828"/>
                  </a:cubicBezTo>
                  <a:cubicBezTo>
                    <a:pt x="215" y="824"/>
                    <a:pt x="214" y="820"/>
                    <a:pt x="213" y="816"/>
                  </a:cubicBezTo>
                  <a:cubicBezTo>
                    <a:pt x="60" y="912"/>
                    <a:pt x="60" y="912"/>
                    <a:pt x="60" y="912"/>
                  </a:cubicBezTo>
                  <a:cubicBezTo>
                    <a:pt x="185" y="1129"/>
                    <a:pt x="185" y="1129"/>
                    <a:pt x="185" y="1129"/>
                  </a:cubicBezTo>
                  <a:cubicBezTo>
                    <a:pt x="345" y="1045"/>
                    <a:pt x="345" y="1045"/>
                    <a:pt x="345" y="1045"/>
                  </a:cubicBezTo>
                  <a:cubicBezTo>
                    <a:pt x="343" y="1041"/>
                    <a:pt x="340" y="1038"/>
                    <a:pt x="337" y="1035"/>
                  </a:cubicBezTo>
                  <a:cubicBezTo>
                    <a:pt x="349" y="1025"/>
                    <a:pt x="349" y="1025"/>
                    <a:pt x="349" y="1025"/>
                  </a:cubicBezTo>
                  <a:cubicBezTo>
                    <a:pt x="356" y="1039"/>
                    <a:pt x="356" y="1039"/>
                    <a:pt x="356" y="1039"/>
                  </a:cubicBezTo>
                  <a:cubicBezTo>
                    <a:pt x="345" y="1045"/>
                    <a:pt x="345" y="1045"/>
                    <a:pt x="345" y="1045"/>
                  </a:cubicBezTo>
                  <a:cubicBezTo>
                    <a:pt x="372" y="1076"/>
                    <a:pt x="401" y="1105"/>
                    <a:pt x="432" y="1132"/>
                  </a:cubicBezTo>
                  <a:cubicBezTo>
                    <a:pt x="438" y="1121"/>
                    <a:pt x="438" y="1121"/>
                    <a:pt x="438" y="1121"/>
                  </a:cubicBezTo>
                  <a:cubicBezTo>
                    <a:pt x="452" y="1128"/>
                    <a:pt x="452" y="1128"/>
                    <a:pt x="452" y="1128"/>
                  </a:cubicBezTo>
                  <a:cubicBezTo>
                    <a:pt x="442" y="1140"/>
                    <a:pt x="442" y="1140"/>
                    <a:pt x="442" y="1140"/>
                  </a:cubicBezTo>
                  <a:cubicBezTo>
                    <a:pt x="439" y="1137"/>
                    <a:pt x="436" y="1134"/>
                    <a:pt x="432" y="1132"/>
                  </a:cubicBezTo>
                  <a:cubicBezTo>
                    <a:pt x="348" y="1292"/>
                    <a:pt x="348" y="1292"/>
                    <a:pt x="348" y="1292"/>
                  </a:cubicBezTo>
                  <a:cubicBezTo>
                    <a:pt x="565" y="1417"/>
                    <a:pt x="565" y="1417"/>
                    <a:pt x="565" y="1417"/>
                  </a:cubicBezTo>
                  <a:cubicBezTo>
                    <a:pt x="661" y="1264"/>
                    <a:pt x="661" y="1264"/>
                    <a:pt x="661" y="1264"/>
                  </a:cubicBezTo>
                  <a:cubicBezTo>
                    <a:pt x="657" y="1263"/>
                    <a:pt x="653" y="1262"/>
                    <a:pt x="649" y="1260"/>
                  </a:cubicBezTo>
                  <a:cubicBezTo>
                    <a:pt x="654" y="1246"/>
                    <a:pt x="654" y="1246"/>
                    <a:pt x="654" y="1246"/>
                  </a:cubicBezTo>
                  <a:cubicBezTo>
                    <a:pt x="667" y="1254"/>
                    <a:pt x="667" y="1254"/>
                    <a:pt x="667" y="1254"/>
                  </a:cubicBezTo>
                  <a:cubicBezTo>
                    <a:pt x="661" y="1264"/>
                    <a:pt x="661" y="1264"/>
                    <a:pt x="661" y="1264"/>
                  </a:cubicBezTo>
                  <a:cubicBezTo>
                    <a:pt x="699" y="1278"/>
                    <a:pt x="739" y="1289"/>
                    <a:pt x="780" y="1296"/>
                  </a:cubicBezTo>
                  <a:cubicBezTo>
                    <a:pt x="780" y="1284"/>
                    <a:pt x="780" y="1284"/>
                    <a:pt x="780" y="1284"/>
                  </a:cubicBezTo>
                  <a:cubicBezTo>
                    <a:pt x="795" y="1283"/>
                    <a:pt x="795" y="1283"/>
                    <a:pt x="795" y="1283"/>
                  </a:cubicBezTo>
                  <a:cubicBezTo>
                    <a:pt x="793" y="1298"/>
                    <a:pt x="793" y="1298"/>
                    <a:pt x="793" y="1298"/>
                  </a:cubicBezTo>
                  <a:cubicBezTo>
                    <a:pt x="788" y="1298"/>
                    <a:pt x="784" y="1297"/>
                    <a:pt x="780" y="1296"/>
                  </a:cubicBezTo>
                  <a:cubicBezTo>
                    <a:pt x="787" y="1477"/>
                    <a:pt x="787" y="1477"/>
                    <a:pt x="787" y="1477"/>
                  </a:cubicBezTo>
                  <a:cubicBezTo>
                    <a:pt x="1037" y="1477"/>
                    <a:pt x="1037" y="1477"/>
                    <a:pt x="1037" y="1477"/>
                  </a:cubicBezTo>
                  <a:cubicBezTo>
                    <a:pt x="1044" y="1296"/>
                    <a:pt x="1044" y="1296"/>
                    <a:pt x="1044" y="1296"/>
                  </a:cubicBezTo>
                  <a:cubicBezTo>
                    <a:pt x="1040" y="1297"/>
                    <a:pt x="1036" y="1298"/>
                    <a:pt x="1032" y="1298"/>
                  </a:cubicBezTo>
                  <a:cubicBezTo>
                    <a:pt x="1029" y="1283"/>
                    <a:pt x="1029" y="1283"/>
                    <a:pt x="1029" y="1283"/>
                  </a:cubicBezTo>
                  <a:cubicBezTo>
                    <a:pt x="1045" y="1284"/>
                    <a:pt x="1045" y="1284"/>
                    <a:pt x="1045" y="1284"/>
                  </a:cubicBezTo>
                  <a:cubicBezTo>
                    <a:pt x="1044" y="1296"/>
                    <a:pt x="1044" y="1296"/>
                    <a:pt x="1044" y="1296"/>
                  </a:cubicBezTo>
                  <a:cubicBezTo>
                    <a:pt x="1085" y="1289"/>
                    <a:pt x="1125" y="1278"/>
                    <a:pt x="1164" y="1264"/>
                  </a:cubicBezTo>
                  <a:cubicBezTo>
                    <a:pt x="1157" y="1254"/>
                    <a:pt x="1157" y="1254"/>
                    <a:pt x="1157" y="1254"/>
                  </a:cubicBezTo>
                  <a:cubicBezTo>
                    <a:pt x="1170" y="1246"/>
                    <a:pt x="1170" y="1246"/>
                    <a:pt x="1170" y="1246"/>
                  </a:cubicBezTo>
                  <a:cubicBezTo>
                    <a:pt x="1176" y="1260"/>
                    <a:pt x="1176" y="1260"/>
                    <a:pt x="1176" y="1260"/>
                  </a:cubicBezTo>
                  <a:cubicBezTo>
                    <a:pt x="1172" y="1262"/>
                    <a:pt x="1168" y="1263"/>
                    <a:pt x="1164" y="1264"/>
                  </a:cubicBezTo>
                  <a:cubicBezTo>
                    <a:pt x="1260" y="1417"/>
                    <a:pt x="1260" y="1417"/>
                    <a:pt x="1260" y="1417"/>
                  </a:cubicBezTo>
                  <a:cubicBezTo>
                    <a:pt x="1477" y="1292"/>
                    <a:pt x="1477" y="1292"/>
                    <a:pt x="1477" y="1292"/>
                  </a:cubicBezTo>
                  <a:cubicBezTo>
                    <a:pt x="1392" y="1132"/>
                    <a:pt x="1392" y="1132"/>
                    <a:pt x="1392" y="1132"/>
                  </a:cubicBezTo>
                  <a:cubicBezTo>
                    <a:pt x="1389" y="1134"/>
                    <a:pt x="1386" y="1137"/>
                    <a:pt x="1383" y="1140"/>
                  </a:cubicBezTo>
                  <a:cubicBezTo>
                    <a:pt x="1373" y="1128"/>
                    <a:pt x="1373" y="1128"/>
                    <a:pt x="1373" y="1128"/>
                  </a:cubicBezTo>
                  <a:cubicBezTo>
                    <a:pt x="1386" y="1121"/>
                    <a:pt x="1386" y="1121"/>
                    <a:pt x="1386" y="1121"/>
                  </a:cubicBezTo>
                  <a:cubicBezTo>
                    <a:pt x="1392" y="1132"/>
                    <a:pt x="1392" y="1132"/>
                    <a:pt x="1392" y="1132"/>
                  </a:cubicBezTo>
                  <a:cubicBezTo>
                    <a:pt x="1424" y="1105"/>
                    <a:pt x="1453" y="1076"/>
                    <a:pt x="1479" y="1045"/>
                  </a:cubicBezTo>
                  <a:cubicBezTo>
                    <a:pt x="1468" y="1039"/>
                    <a:pt x="1468" y="1039"/>
                    <a:pt x="1468" y="1039"/>
                  </a:cubicBezTo>
                  <a:cubicBezTo>
                    <a:pt x="1476" y="1025"/>
                    <a:pt x="1476" y="1025"/>
                    <a:pt x="1476" y="1025"/>
                  </a:cubicBezTo>
                  <a:cubicBezTo>
                    <a:pt x="1487" y="1035"/>
                    <a:pt x="1487" y="1035"/>
                    <a:pt x="1487" y="1035"/>
                  </a:cubicBezTo>
                  <a:cubicBezTo>
                    <a:pt x="1485" y="1038"/>
                    <a:pt x="1482" y="1041"/>
                    <a:pt x="1479" y="1045"/>
                  </a:cubicBezTo>
                  <a:cubicBezTo>
                    <a:pt x="1639" y="1129"/>
                    <a:pt x="1639" y="1129"/>
                    <a:pt x="1639" y="1129"/>
                  </a:cubicBezTo>
                  <a:cubicBezTo>
                    <a:pt x="1764" y="912"/>
                    <a:pt x="1764" y="912"/>
                    <a:pt x="1764" y="912"/>
                  </a:cubicBezTo>
                  <a:cubicBezTo>
                    <a:pt x="1612" y="816"/>
                    <a:pt x="1612" y="816"/>
                    <a:pt x="1612" y="816"/>
                  </a:cubicBezTo>
                  <a:cubicBezTo>
                    <a:pt x="1610" y="820"/>
                    <a:pt x="1609" y="824"/>
                    <a:pt x="1608" y="828"/>
                  </a:cubicBezTo>
                  <a:cubicBezTo>
                    <a:pt x="1593" y="823"/>
                    <a:pt x="1593" y="823"/>
                    <a:pt x="1593" y="823"/>
                  </a:cubicBezTo>
                  <a:cubicBezTo>
                    <a:pt x="1601" y="810"/>
                    <a:pt x="1601" y="810"/>
                    <a:pt x="1601" y="810"/>
                  </a:cubicBezTo>
                  <a:cubicBezTo>
                    <a:pt x="1612" y="816"/>
                    <a:pt x="1612" y="816"/>
                    <a:pt x="1612" y="816"/>
                  </a:cubicBezTo>
                  <a:cubicBezTo>
                    <a:pt x="1625" y="778"/>
                    <a:pt x="1636" y="738"/>
                    <a:pt x="1643" y="697"/>
                  </a:cubicBezTo>
                  <a:lnTo>
                    <a:pt x="1631" y="6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AF69259F-371C-448E-8423-F42EDEDCDB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1" y="2173"/>
              <a:ext cx="597" cy="482"/>
            </a:xfrm>
            <a:custGeom>
              <a:avLst/>
              <a:gdLst>
                <a:gd name="T0" fmla="*/ 575 w 1840"/>
                <a:gd name="T1" fmla="*/ 1438 h 1495"/>
                <a:gd name="T2" fmla="*/ 57 w 1840"/>
                <a:gd name="T3" fmla="*/ 920 h 1495"/>
                <a:gd name="T4" fmla="*/ 182 w 1840"/>
                <a:gd name="T5" fmla="*/ 435 h 1495"/>
                <a:gd name="T6" fmla="*/ 278 w 1840"/>
                <a:gd name="T7" fmla="*/ 99 h 1495"/>
                <a:gd name="T8" fmla="*/ 225 w 1840"/>
                <a:gd name="T9" fmla="*/ 461 h 1495"/>
                <a:gd name="T10" fmla="*/ 225 w 1840"/>
                <a:gd name="T11" fmla="*/ 688 h 1495"/>
                <a:gd name="T12" fmla="*/ 363 w 1840"/>
                <a:gd name="T13" fmla="*/ 1006 h 1495"/>
                <a:gd name="T14" fmla="*/ 560 w 1840"/>
                <a:gd name="T15" fmla="*/ 1375 h 1495"/>
                <a:gd name="T16" fmla="*/ 833 w 1840"/>
                <a:gd name="T17" fmla="*/ 1448 h 1495"/>
                <a:gd name="T18" fmla="*/ 1188 w 1840"/>
                <a:gd name="T19" fmla="*/ 1227 h 1495"/>
                <a:gd name="T20" fmla="*/ 1465 w 1840"/>
                <a:gd name="T21" fmla="*/ 1020 h 1495"/>
                <a:gd name="T22" fmla="*/ 1579 w 1840"/>
                <a:gd name="T23" fmla="*/ 824 h 1495"/>
                <a:gd name="T24" fmla="*/ 1618 w 1840"/>
                <a:gd name="T25" fmla="*/ 480 h 1495"/>
                <a:gd name="T26" fmla="*/ 1632 w 1840"/>
                <a:gd name="T27" fmla="*/ 62 h 1495"/>
                <a:gd name="T28" fmla="*/ 1630 w 1840"/>
                <a:gd name="T29" fmla="*/ 327 h 1495"/>
                <a:gd name="T30" fmla="*/ 1630 w 1840"/>
                <a:gd name="T31" fmla="*/ 823 h 1495"/>
                <a:gd name="T32" fmla="*/ 1495 w 1840"/>
                <a:gd name="T33" fmla="*/ 1305 h 1495"/>
                <a:gd name="T34" fmla="*/ 803 w 1840"/>
                <a:gd name="T35" fmla="*/ 1478 h 1495"/>
                <a:gd name="T36" fmla="*/ 1030 w 1840"/>
                <a:gd name="T37" fmla="*/ 1298 h 1495"/>
                <a:gd name="T38" fmla="*/ 799 w 1840"/>
                <a:gd name="T39" fmla="*/ 1316 h 1495"/>
                <a:gd name="T40" fmla="*/ 1474 w 1840"/>
                <a:gd name="T41" fmla="*/ 1299 h 1495"/>
                <a:gd name="T42" fmla="*/ 1454 w 1840"/>
                <a:gd name="T43" fmla="*/ 1293 h 1495"/>
                <a:gd name="T44" fmla="*/ 1184 w 1840"/>
                <a:gd name="T45" fmla="*/ 1279 h 1495"/>
                <a:gd name="T46" fmla="*/ 646 w 1840"/>
                <a:gd name="T47" fmla="*/ 1275 h 1495"/>
                <a:gd name="T48" fmla="*/ 451 w 1840"/>
                <a:gd name="T49" fmla="*/ 1161 h 1495"/>
                <a:gd name="T50" fmla="*/ 780 w 1840"/>
                <a:gd name="T51" fmla="*/ 1296 h 1495"/>
                <a:gd name="T52" fmla="*/ 681 w 1840"/>
                <a:gd name="T53" fmla="*/ 1270 h 1495"/>
                <a:gd name="T54" fmla="*/ 1154 w 1840"/>
                <a:gd name="T55" fmla="*/ 1261 h 1495"/>
                <a:gd name="T56" fmla="*/ 366 w 1840"/>
                <a:gd name="T57" fmla="*/ 1035 h 1495"/>
                <a:gd name="T58" fmla="*/ 1475 w 1840"/>
                <a:gd name="T59" fmla="*/ 1035 h 1495"/>
                <a:gd name="T60" fmla="*/ 1465 w 1840"/>
                <a:gd name="T61" fmla="*/ 1052 h 1495"/>
                <a:gd name="T62" fmla="*/ 1624 w 1840"/>
                <a:gd name="T63" fmla="*/ 839 h 1495"/>
                <a:gd name="T64" fmla="*/ 1639 w 1840"/>
                <a:gd name="T65" fmla="*/ 1109 h 1495"/>
                <a:gd name="T66" fmla="*/ 79 w 1840"/>
                <a:gd name="T67" fmla="*/ 925 h 1495"/>
                <a:gd name="T68" fmla="*/ 349 w 1840"/>
                <a:gd name="T69" fmla="*/ 1032 h 1495"/>
                <a:gd name="T70" fmla="*/ 217 w 1840"/>
                <a:gd name="T71" fmla="*/ 841 h 1495"/>
                <a:gd name="T72" fmla="*/ 1607 w 1840"/>
                <a:gd name="T73" fmla="*/ 808 h 1495"/>
                <a:gd name="T74" fmla="*/ 234 w 1840"/>
                <a:gd name="T75" fmla="*/ 808 h 1495"/>
                <a:gd name="T76" fmla="*/ 225 w 1840"/>
                <a:gd name="T77" fmla="*/ 814 h 1495"/>
                <a:gd name="T78" fmla="*/ 1661 w 1840"/>
                <a:gd name="T79" fmla="*/ 698 h 1495"/>
                <a:gd name="T80" fmla="*/ 1663 w 1840"/>
                <a:gd name="T81" fmla="*/ 462 h 1495"/>
                <a:gd name="T82" fmla="*/ 17 w 1840"/>
                <a:gd name="T83" fmla="*/ 692 h 1495"/>
                <a:gd name="T84" fmla="*/ 31 w 1840"/>
                <a:gd name="T85" fmla="*/ 678 h 1495"/>
                <a:gd name="T86" fmla="*/ 179 w 1840"/>
                <a:gd name="T87" fmla="*/ 451 h 1495"/>
                <a:gd name="T88" fmla="*/ 244 w 1840"/>
                <a:gd name="T89" fmla="*/ 325 h 1495"/>
                <a:gd name="T90" fmla="*/ 1596 w 1840"/>
                <a:gd name="T91" fmla="*/ 325 h 1495"/>
                <a:gd name="T92" fmla="*/ 1607 w 1840"/>
                <a:gd name="T93" fmla="*/ 341 h 1495"/>
                <a:gd name="T94" fmla="*/ 1761 w 1840"/>
                <a:gd name="T95" fmla="*/ 225 h 1495"/>
                <a:gd name="T96" fmla="*/ 1742 w 1840"/>
                <a:gd name="T97" fmla="*/ 220 h 1495"/>
                <a:gd name="T98" fmla="*/ 217 w 1840"/>
                <a:gd name="T99" fmla="*/ 309 h 1495"/>
                <a:gd name="T100" fmla="*/ 259 w 1840"/>
                <a:gd name="T101" fmla="*/ 71 h 1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40" h="1495">
                  <a:moveTo>
                    <a:pt x="1053" y="1495"/>
                  </a:moveTo>
                  <a:cubicBezTo>
                    <a:pt x="787" y="1495"/>
                    <a:pt x="787" y="1495"/>
                    <a:pt x="787" y="1495"/>
                  </a:cubicBezTo>
                  <a:cubicBezTo>
                    <a:pt x="780" y="1313"/>
                    <a:pt x="780" y="1313"/>
                    <a:pt x="780" y="1313"/>
                  </a:cubicBezTo>
                  <a:cubicBezTo>
                    <a:pt x="743" y="1306"/>
                    <a:pt x="707" y="1296"/>
                    <a:pt x="672" y="1284"/>
                  </a:cubicBezTo>
                  <a:cubicBezTo>
                    <a:pt x="575" y="1438"/>
                    <a:pt x="575" y="1438"/>
                    <a:pt x="575" y="1438"/>
                  </a:cubicBezTo>
                  <a:cubicBezTo>
                    <a:pt x="345" y="1305"/>
                    <a:pt x="345" y="1305"/>
                    <a:pt x="345" y="1305"/>
                  </a:cubicBezTo>
                  <a:cubicBezTo>
                    <a:pt x="430" y="1144"/>
                    <a:pt x="430" y="1144"/>
                    <a:pt x="430" y="1144"/>
                  </a:cubicBezTo>
                  <a:cubicBezTo>
                    <a:pt x="402" y="1120"/>
                    <a:pt x="376" y="1093"/>
                    <a:pt x="351" y="1065"/>
                  </a:cubicBezTo>
                  <a:cubicBezTo>
                    <a:pt x="190" y="1150"/>
                    <a:pt x="190" y="1150"/>
                    <a:pt x="190" y="1150"/>
                  </a:cubicBezTo>
                  <a:cubicBezTo>
                    <a:pt x="57" y="920"/>
                    <a:pt x="57" y="920"/>
                    <a:pt x="57" y="920"/>
                  </a:cubicBezTo>
                  <a:cubicBezTo>
                    <a:pt x="211" y="823"/>
                    <a:pt x="211" y="823"/>
                    <a:pt x="211" y="823"/>
                  </a:cubicBezTo>
                  <a:cubicBezTo>
                    <a:pt x="199" y="788"/>
                    <a:pt x="189" y="752"/>
                    <a:pt x="182" y="715"/>
                  </a:cubicBezTo>
                  <a:cubicBezTo>
                    <a:pt x="0" y="708"/>
                    <a:pt x="0" y="708"/>
                    <a:pt x="0" y="708"/>
                  </a:cubicBezTo>
                  <a:cubicBezTo>
                    <a:pt x="0" y="442"/>
                    <a:pt x="0" y="442"/>
                    <a:pt x="0" y="442"/>
                  </a:cubicBezTo>
                  <a:cubicBezTo>
                    <a:pt x="182" y="435"/>
                    <a:pt x="182" y="435"/>
                    <a:pt x="182" y="435"/>
                  </a:cubicBezTo>
                  <a:cubicBezTo>
                    <a:pt x="189" y="398"/>
                    <a:pt x="199" y="362"/>
                    <a:pt x="211" y="327"/>
                  </a:cubicBezTo>
                  <a:cubicBezTo>
                    <a:pt x="57" y="230"/>
                    <a:pt x="57" y="230"/>
                    <a:pt x="57" y="23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73" y="44"/>
                    <a:pt x="273" y="44"/>
                    <a:pt x="273" y="44"/>
                  </a:cubicBezTo>
                  <a:cubicBezTo>
                    <a:pt x="278" y="99"/>
                    <a:pt x="278" y="99"/>
                    <a:pt x="278" y="99"/>
                  </a:cubicBezTo>
                  <a:cubicBezTo>
                    <a:pt x="208" y="62"/>
                    <a:pt x="208" y="62"/>
                    <a:pt x="208" y="62"/>
                  </a:cubicBezTo>
                  <a:cubicBezTo>
                    <a:pt x="120" y="214"/>
                    <a:pt x="120" y="214"/>
                    <a:pt x="120" y="214"/>
                  </a:cubicBezTo>
                  <a:cubicBezTo>
                    <a:pt x="268" y="307"/>
                    <a:pt x="268" y="307"/>
                    <a:pt x="268" y="307"/>
                  </a:cubicBezTo>
                  <a:cubicBezTo>
                    <a:pt x="261" y="325"/>
                    <a:pt x="261" y="325"/>
                    <a:pt x="261" y="325"/>
                  </a:cubicBezTo>
                  <a:cubicBezTo>
                    <a:pt x="245" y="368"/>
                    <a:pt x="233" y="414"/>
                    <a:pt x="225" y="461"/>
                  </a:cubicBezTo>
                  <a:cubicBezTo>
                    <a:pt x="222" y="480"/>
                    <a:pt x="222" y="480"/>
                    <a:pt x="222" y="480"/>
                  </a:cubicBezTo>
                  <a:cubicBezTo>
                    <a:pt x="47" y="487"/>
                    <a:pt x="47" y="487"/>
                    <a:pt x="47" y="487"/>
                  </a:cubicBezTo>
                  <a:cubicBezTo>
                    <a:pt x="47" y="663"/>
                    <a:pt x="47" y="663"/>
                    <a:pt x="47" y="663"/>
                  </a:cubicBezTo>
                  <a:cubicBezTo>
                    <a:pt x="222" y="669"/>
                    <a:pt x="222" y="669"/>
                    <a:pt x="222" y="669"/>
                  </a:cubicBezTo>
                  <a:cubicBezTo>
                    <a:pt x="225" y="688"/>
                    <a:pt x="225" y="688"/>
                    <a:pt x="225" y="688"/>
                  </a:cubicBezTo>
                  <a:cubicBezTo>
                    <a:pt x="233" y="735"/>
                    <a:pt x="245" y="781"/>
                    <a:pt x="261" y="824"/>
                  </a:cubicBezTo>
                  <a:cubicBezTo>
                    <a:pt x="268" y="842"/>
                    <a:pt x="268" y="842"/>
                    <a:pt x="268" y="842"/>
                  </a:cubicBezTo>
                  <a:cubicBezTo>
                    <a:pt x="120" y="935"/>
                    <a:pt x="120" y="935"/>
                    <a:pt x="120" y="935"/>
                  </a:cubicBezTo>
                  <a:cubicBezTo>
                    <a:pt x="208" y="1087"/>
                    <a:pt x="208" y="1087"/>
                    <a:pt x="208" y="1087"/>
                  </a:cubicBezTo>
                  <a:cubicBezTo>
                    <a:pt x="363" y="1006"/>
                    <a:pt x="363" y="1006"/>
                    <a:pt x="363" y="1006"/>
                  </a:cubicBezTo>
                  <a:cubicBezTo>
                    <a:pt x="375" y="1020"/>
                    <a:pt x="375" y="1020"/>
                    <a:pt x="375" y="1020"/>
                  </a:cubicBezTo>
                  <a:cubicBezTo>
                    <a:pt x="405" y="1057"/>
                    <a:pt x="438" y="1090"/>
                    <a:pt x="475" y="1120"/>
                  </a:cubicBezTo>
                  <a:cubicBezTo>
                    <a:pt x="489" y="1132"/>
                    <a:pt x="489" y="1132"/>
                    <a:pt x="489" y="1132"/>
                  </a:cubicBezTo>
                  <a:cubicBezTo>
                    <a:pt x="408" y="1287"/>
                    <a:pt x="408" y="1287"/>
                    <a:pt x="408" y="1287"/>
                  </a:cubicBezTo>
                  <a:cubicBezTo>
                    <a:pt x="560" y="1375"/>
                    <a:pt x="560" y="1375"/>
                    <a:pt x="560" y="1375"/>
                  </a:cubicBezTo>
                  <a:cubicBezTo>
                    <a:pt x="653" y="1227"/>
                    <a:pt x="653" y="1227"/>
                    <a:pt x="653" y="1227"/>
                  </a:cubicBezTo>
                  <a:cubicBezTo>
                    <a:pt x="671" y="1234"/>
                    <a:pt x="671" y="1234"/>
                    <a:pt x="671" y="1234"/>
                  </a:cubicBezTo>
                  <a:cubicBezTo>
                    <a:pt x="714" y="1250"/>
                    <a:pt x="760" y="1262"/>
                    <a:pt x="807" y="1270"/>
                  </a:cubicBezTo>
                  <a:cubicBezTo>
                    <a:pt x="826" y="1273"/>
                    <a:pt x="826" y="1273"/>
                    <a:pt x="826" y="1273"/>
                  </a:cubicBezTo>
                  <a:cubicBezTo>
                    <a:pt x="833" y="1448"/>
                    <a:pt x="833" y="1448"/>
                    <a:pt x="833" y="1448"/>
                  </a:cubicBezTo>
                  <a:cubicBezTo>
                    <a:pt x="1008" y="1448"/>
                    <a:pt x="1008" y="1448"/>
                    <a:pt x="1008" y="1448"/>
                  </a:cubicBezTo>
                  <a:cubicBezTo>
                    <a:pt x="1015" y="1273"/>
                    <a:pt x="1015" y="1273"/>
                    <a:pt x="1015" y="1273"/>
                  </a:cubicBezTo>
                  <a:cubicBezTo>
                    <a:pt x="1034" y="1270"/>
                    <a:pt x="1034" y="1270"/>
                    <a:pt x="1034" y="1270"/>
                  </a:cubicBezTo>
                  <a:cubicBezTo>
                    <a:pt x="1081" y="1262"/>
                    <a:pt x="1127" y="1250"/>
                    <a:pt x="1170" y="1234"/>
                  </a:cubicBezTo>
                  <a:cubicBezTo>
                    <a:pt x="1188" y="1227"/>
                    <a:pt x="1188" y="1227"/>
                    <a:pt x="1188" y="1227"/>
                  </a:cubicBezTo>
                  <a:cubicBezTo>
                    <a:pt x="1281" y="1375"/>
                    <a:pt x="1281" y="1375"/>
                    <a:pt x="1281" y="1375"/>
                  </a:cubicBezTo>
                  <a:cubicBezTo>
                    <a:pt x="1433" y="1287"/>
                    <a:pt x="1433" y="1287"/>
                    <a:pt x="1433" y="1287"/>
                  </a:cubicBezTo>
                  <a:cubicBezTo>
                    <a:pt x="1351" y="1132"/>
                    <a:pt x="1351" y="1132"/>
                    <a:pt x="1351" y="1132"/>
                  </a:cubicBezTo>
                  <a:cubicBezTo>
                    <a:pt x="1366" y="1120"/>
                    <a:pt x="1366" y="1120"/>
                    <a:pt x="1366" y="1120"/>
                  </a:cubicBezTo>
                  <a:cubicBezTo>
                    <a:pt x="1402" y="1090"/>
                    <a:pt x="1436" y="1057"/>
                    <a:pt x="1465" y="1020"/>
                  </a:cubicBezTo>
                  <a:cubicBezTo>
                    <a:pt x="1478" y="1006"/>
                    <a:pt x="1478" y="1006"/>
                    <a:pt x="1478" y="1006"/>
                  </a:cubicBezTo>
                  <a:cubicBezTo>
                    <a:pt x="1632" y="1087"/>
                    <a:pt x="1632" y="1087"/>
                    <a:pt x="1632" y="1087"/>
                  </a:cubicBezTo>
                  <a:cubicBezTo>
                    <a:pt x="1720" y="935"/>
                    <a:pt x="1720" y="935"/>
                    <a:pt x="1720" y="935"/>
                  </a:cubicBezTo>
                  <a:cubicBezTo>
                    <a:pt x="1572" y="842"/>
                    <a:pt x="1572" y="842"/>
                    <a:pt x="1572" y="842"/>
                  </a:cubicBezTo>
                  <a:cubicBezTo>
                    <a:pt x="1579" y="824"/>
                    <a:pt x="1579" y="824"/>
                    <a:pt x="1579" y="824"/>
                  </a:cubicBezTo>
                  <a:cubicBezTo>
                    <a:pt x="1596" y="781"/>
                    <a:pt x="1608" y="735"/>
                    <a:pt x="1615" y="688"/>
                  </a:cubicBezTo>
                  <a:cubicBezTo>
                    <a:pt x="1618" y="669"/>
                    <a:pt x="1618" y="669"/>
                    <a:pt x="1618" y="669"/>
                  </a:cubicBezTo>
                  <a:cubicBezTo>
                    <a:pt x="1793" y="663"/>
                    <a:pt x="1793" y="663"/>
                    <a:pt x="1793" y="663"/>
                  </a:cubicBezTo>
                  <a:cubicBezTo>
                    <a:pt x="1793" y="487"/>
                    <a:pt x="1793" y="487"/>
                    <a:pt x="1793" y="487"/>
                  </a:cubicBezTo>
                  <a:cubicBezTo>
                    <a:pt x="1618" y="480"/>
                    <a:pt x="1618" y="480"/>
                    <a:pt x="1618" y="480"/>
                  </a:cubicBezTo>
                  <a:cubicBezTo>
                    <a:pt x="1615" y="461"/>
                    <a:pt x="1615" y="461"/>
                    <a:pt x="1615" y="461"/>
                  </a:cubicBezTo>
                  <a:cubicBezTo>
                    <a:pt x="1608" y="414"/>
                    <a:pt x="1596" y="369"/>
                    <a:pt x="1579" y="325"/>
                  </a:cubicBezTo>
                  <a:cubicBezTo>
                    <a:pt x="1572" y="307"/>
                    <a:pt x="1572" y="307"/>
                    <a:pt x="1572" y="307"/>
                  </a:cubicBezTo>
                  <a:cubicBezTo>
                    <a:pt x="1720" y="214"/>
                    <a:pt x="1720" y="214"/>
                    <a:pt x="1720" y="214"/>
                  </a:cubicBezTo>
                  <a:cubicBezTo>
                    <a:pt x="1632" y="62"/>
                    <a:pt x="1632" y="62"/>
                    <a:pt x="1632" y="62"/>
                  </a:cubicBezTo>
                  <a:cubicBezTo>
                    <a:pt x="1562" y="99"/>
                    <a:pt x="1562" y="99"/>
                    <a:pt x="1562" y="99"/>
                  </a:cubicBezTo>
                  <a:cubicBezTo>
                    <a:pt x="1567" y="44"/>
                    <a:pt x="1567" y="44"/>
                    <a:pt x="1567" y="44"/>
                  </a:cubicBezTo>
                  <a:cubicBezTo>
                    <a:pt x="1650" y="0"/>
                    <a:pt x="1650" y="0"/>
                    <a:pt x="1650" y="0"/>
                  </a:cubicBezTo>
                  <a:cubicBezTo>
                    <a:pt x="1783" y="230"/>
                    <a:pt x="1783" y="230"/>
                    <a:pt x="1783" y="230"/>
                  </a:cubicBezTo>
                  <a:cubicBezTo>
                    <a:pt x="1630" y="327"/>
                    <a:pt x="1630" y="327"/>
                    <a:pt x="1630" y="327"/>
                  </a:cubicBezTo>
                  <a:cubicBezTo>
                    <a:pt x="1642" y="362"/>
                    <a:pt x="1651" y="398"/>
                    <a:pt x="1658" y="435"/>
                  </a:cubicBezTo>
                  <a:cubicBezTo>
                    <a:pt x="1840" y="442"/>
                    <a:pt x="1840" y="442"/>
                    <a:pt x="1840" y="442"/>
                  </a:cubicBezTo>
                  <a:cubicBezTo>
                    <a:pt x="1840" y="708"/>
                    <a:pt x="1840" y="708"/>
                    <a:pt x="1840" y="708"/>
                  </a:cubicBezTo>
                  <a:cubicBezTo>
                    <a:pt x="1658" y="715"/>
                    <a:pt x="1658" y="715"/>
                    <a:pt x="1658" y="715"/>
                  </a:cubicBezTo>
                  <a:cubicBezTo>
                    <a:pt x="1651" y="752"/>
                    <a:pt x="1642" y="788"/>
                    <a:pt x="1630" y="823"/>
                  </a:cubicBezTo>
                  <a:cubicBezTo>
                    <a:pt x="1783" y="920"/>
                    <a:pt x="1783" y="920"/>
                    <a:pt x="1783" y="920"/>
                  </a:cubicBezTo>
                  <a:cubicBezTo>
                    <a:pt x="1650" y="1150"/>
                    <a:pt x="1650" y="1150"/>
                    <a:pt x="1650" y="1150"/>
                  </a:cubicBezTo>
                  <a:cubicBezTo>
                    <a:pt x="1489" y="1065"/>
                    <a:pt x="1489" y="1065"/>
                    <a:pt x="1489" y="1065"/>
                  </a:cubicBezTo>
                  <a:cubicBezTo>
                    <a:pt x="1465" y="1093"/>
                    <a:pt x="1438" y="1120"/>
                    <a:pt x="1410" y="1144"/>
                  </a:cubicBezTo>
                  <a:cubicBezTo>
                    <a:pt x="1495" y="1305"/>
                    <a:pt x="1495" y="1305"/>
                    <a:pt x="1495" y="1305"/>
                  </a:cubicBezTo>
                  <a:cubicBezTo>
                    <a:pt x="1265" y="1438"/>
                    <a:pt x="1265" y="1438"/>
                    <a:pt x="1265" y="1438"/>
                  </a:cubicBezTo>
                  <a:cubicBezTo>
                    <a:pt x="1168" y="1284"/>
                    <a:pt x="1168" y="1284"/>
                    <a:pt x="1168" y="1284"/>
                  </a:cubicBezTo>
                  <a:cubicBezTo>
                    <a:pt x="1133" y="1296"/>
                    <a:pt x="1097" y="1306"/>
                    <a:pt x="1060" y="1313"/>
                  </a:cubicBezTo>
                  <a:lnTo>
                    <a:pt x="1053" y="1495"/>
                  </a:lnTo>
                  <a:close/>
                  <a:moveTo>
                    <a:pt x="803" y="1478"/>
                  </a:moveTo>
                  <a:cubicBezTo>
                    <a:pt x="1038" y="1478"/>
                    <a:pt x="1038" y="1478"/>
                    <a:pt x="1038" y="1478"/>
                  </a:cubicBezTo>
                  <a:cubicBezTo>
                    <a:pt x="1044" y="1316"/>
                    <a:pt x="1044" y="1316"/>
                    <a:pt x="1044" y="1316"/>
                  </a:cubicBezTo>
                  <a:cubicBezTo>
                    <a:pt x="1043" y="1316"/>
                    <a:pt x="1042" y="1316"/>
                    <a:pt x="1041" y="1316"/>
                  </a:cubicBezTo>
                  <a:cubicBezTo>
                    <a:pt x="1033" y="1318"/>
                    <a:pt x="1033" y="1318"/>
                    <a:pt x="1033" y="1318"/>
                  </a:cubicBezTo>
                  <a:cubicBezTo>
                    <a:pt x="1030" y="1298"/>
                    <a:pt x="1030" y="1298"/>
                    <a:pt x="1030" y="1298"/>
                  </a:cubicBezTo>
                  <a:cubicBezTo>
                    <a:pt x="1024" y="1464"/>
                    <a:pt x="1024" y="1464"/>
                    <a:pt x="1024" y="1464"/>
                  </a:cubicBezTo>
                  <a:cubicBezTo>
                    <a:pt x="817" y="1464"/>
                    <a:pt x="817" y="1464"/>
                    <a:pt x="817" y="1464"/>
                  </a:cubicBezTo>
                  <a:cubicBezTo>
                    <a:pt x="810" y="1298"/>
                    <a:pt x="810" y="1298"/>
                    <a:pt x="810" y="1298"/>
                  </a:cubicBezTo>
                  <a:cubicBezTo>
                    <a:pt x="807" y="1318"/>
                    <a:pt x="807" y="1318"/>
                    <a:pt x="807" y="1318"/>
                  </a:cubicBezTo>
                  <a:cubicBezTo>
                    <a:pt x="799" y="1316"/>
                    <a:pt x="799" y="1316"/>
                    <a:pt x="799" y="1316"/>
                  </a:cubicBezTo>
                  <a:cubicBezTo>
                    <a:pt x="798" y="1316"/>
                    <a:pt x="798" y="1316"/>
                    <a:pt x="797" y="1316"/>
                  </a:cubicBezTo>
                  <a:lnTo>
                    <a:pt x="803" y="1478"/>
                  </a:lnTo>
                  <a:close/>
                  <a:moveTo>
                    <a:pt x="1184" y="1279"/>
                  </a:moveTo>
                  <a:cubicBezTo>
                    <a:pt x="1270" y="1416"/>
                    <a:pt x="1270" y="1416"/>
                    <a:pt x="1270" y="1416"/>
                  </a:cubicBezTo>
                  <a:cubicBezTo>
                    <a:pt x="1474" y="1299"/>
                    <a:pt x="1474" y="1299"/>
                    <a:pt x="1474" y="1299"/>
                  </a:cubicBezTo>
                  <a:cubicBezTo>
                    <a:pt x="1398" y="1155"/>
                    <a:pt x="1398" y="1155"/>
                    <a:pt x="1398" y="1155"/>
                  </a:cubicBezTo>
                  <a:cubicBezTo>
                    <a:pt x="1397" y="1155"/>
                    <a:pt x="1396" y="1156"/>
                    <a:pt x="1396" y="1156"/>
                  </a:cubicBezTo>
                  <a:cubicBezTo>
                    <a:pt x="1389" y="1161"/>
                    <a:pt x="1389" y="1161"/>
                    <a:pt x="1389" y="1161"/>
                  </a:cubicBezTo>
                  <a:cubicBezTo>
                    <a:pt x="1377" y="1146"/>
                    <a:pt x="1377" y="1146"/>
                    <a:pt x="1377" y="1146"/>
                  </a:cubicBezTo>
                  <a:cubicBezTo>
                    <a:pt x="1454" y="1293"/>
                    <a:pt x="1454" y="1293"/>
                    <a:pt x="1454" y="1293"/>
                  </a:cubicBezTo>
                  <a:cubicBezTo>
                    <a:pt x="1275" y="1397"/>
                    <a:pt x="1275" y="1397"/>
                    <a:pt x="1275" y="1397"/>
                  </a:cubicBezTo>
                  <a:cubicBezTo>
                    <a:pt x="1187" y="1257"/>
                    <a:pt x="1187" y="1257"/>
                    <a:pt x="1187" y="1257"/>
                  </a:cubicBezTo>
                  <a:cubicBezTo>
                    <a:pt x="1194" y="1275"/>
                    <a:pt x="1194" y="1275"/>
                    <a:pt x="1194" y="1275"/>
                  </a:cubicBezTo>
                  <a:cubicBezTo>
                    <a:pt x="1186" y="1278"/>
                    <a:pt x="1186" y="1278"/>
                    <a:pt x="1186" y="1278"/>
                  </a:cubicBezTo>
                  <a:cubicBezTo>
                    <a:pt x="1186" y="1278"/>
                    <a:pt x="1185" y="1278"/>
                    <a:pt x="1184" y="1279"/>
                  </a:cubicBezTo>
                  <a:close/>
                  <a:moveTo>
                    <a:pt x="367" y="1299"/>
                  </a:moveTo>
                  <a:cubicBezTo>
                    <a:pt x="570" y="1416"/>
                    <a:pt x="570" y="1416"/>
                    <a:pt x="570" y="1416"/>
                  </a:cubicBezTo>
                  <a:cubicBezTo>
                    <a:pt x="656" y="1279"/>
                    <a:pt x="656" y="1279"/>
                    <a:pt x="656" y="1279"/>
                  </a:cubicBezTo>
                  <a:cubicBezTo>
                    <a:pt x="656" y="1278"/>
                    <a:pt x="655" y="1278"/>
                    <a:pt x="654" y="1278"/>
                  </a:cubicBezTo>
                  <a:cubicBezTo>
                    <a:pt x="646" y="1275"/>
                    <a:pt x="646" y="1275"/>
                    <a:pt x="646" y="1275"/>
                  </a:cubicBezTo>
                  <a:cubicBezTo>
                    <a:pt x="653" y="1257"/>
                    <a:pt x="653" y="1257"/>
                    <a:pt x="653" y="1257"/>
                  </a:cubicBezTo>
                  <a:cubicBezTo>
                    <a:pt x="565" y="1397"/>
                    <a:pt x="565" y="1397"/>
                    <a:pt x="565" y="1397"/>
                  </a:cubicBezTo>
                  <a:cubicBezTo>
                    <a:pt x="386" y="1293"/>
                    <a:pt x="386" y="1293"/>
                    <a:pt x="386" y="1293"/>
                  </a:cubicBezTo>
                  <a:cubicBezTo>
                    <a:pt x="463" y="1146"/>
                    <a:pt x="463" y="1146"/>
                    <a:pt x="463" y="1146"/>
                  </a:cubicBezTo>
                  <a:cubicBezTo>
                    <a:pt x="451" y="1161"/>
                    <a:pt x="451" y="1161"/>
                    <a:pt x="451" y="1161"/>
                  </a:cubicBezTo>
                  <a:cubicBezTo>
                    <a:pt x="445" y="1156"/>
                    <a:pt x="445" y="1156"/>
                    <a:pt x="445" y="1156"/>
                  </a:cubicBezTo>
                  <a:cubicBezTo>
                    <a:pt x="444" y="1156"/>
                    <a:pt x="443" y="1155"/>
                    <a:pt x="443" y="1155"/>
                  </a:cubicBezTo>
                  <a:lnTo>
                    <a:pt x="367" y="1299"/>
                  </a:lnTo>
                  <a:close/>
                  <a:moveTo>
                    <a:pt x="681" y="1270"/>
                  </a:moveTo>
                  <a:cubicBezTo>
                    <a:pt x="713" y="1281"/>
                    <a:pt x="746" y="1290"/>
                    <a:pt x="780" y="1296"/>
                  </a:cubicBezTo>
                  <a:cubicBezTo>
                    <a:pt x="779" y="1286"/>
                    <a:pt x="779" y="1286"/>
                    <a:pt x="779" y="1286"/>
                  </a:cubicBezTo>
                  <a:cubicBezTo>
                    <a:pt x="799" y="1285"/>
                    <a:pt x="799" y="1285"/>
                    <a:pt x="799" y="1285"/>
                  </a:cubicBezTo>
                  <a:cubicBezTo>
                    <a:pt x="754" y="1278"/>
                    <a:pt x="711" y="1266"/>
                    <a:pt x="670" y="1251"/>
                  </a:cubicBezTo>
                  <a:cubicBezTo>
                    <a:pt x="687" y="1261"/>
                    <a:pt x="687" y="1261"/>
                    <a:pt x="687" y="1261"/>
                  </a:cubicBezTo>
                  <a:lnTo>
                    <a:pt x="681" y="1270"/>
                  </a:lnTo>
                  <a:close/>
                  <a:moveTo>
                    <a:pt x="1042" y="1285"/>
                  </a:moveTo>
                  <a:cubicBezTo>
                    <a:pt x="1061" y="1286"/>
                    <a:pt x="1061" y="1286"/>
                    <a:pt x="1061" y="1286"/>
                  </a:cubicBezTo>
                  <a:cubicBezTo>
                    <a:pt x="1061" y="1296"/>
                    <a:pt x="1061" y="1296"/>
                    <a:pt x="1061" y="1296"/>
                  </a:cubicBezTo>
                  <a:cubicBezTo>
                    <a:pt x="1095" y="1290"/>
                    <a:pt x="1128" y="1281"/>
                    <a:pt x="1159" y="1270"/>
                  </a:cubicBezTo>
                  <a:cubicBezTo>
                    <a:pt x="1154" y="1261"/>
                    <a:pt x="1154" y="1261"/>
                    <a:pt x="1154" y="1261"/>
                  </a:cubicBezTo>
                  <a:cubicBezTo>
                    <a:pt x="1170" y="1251"/>
                    <a:pt x="1170" y="1251"/>
                    <a:pt x="1170" y="1251"/>
                  </a:cubicBezTo>
                  <a:cubicBezTo>
                    <a:pt x="1129" y="1266"/>
                    <a:pt x="1086" y="1278"/>
                    <a:pt x="1042" y="1285"/>
                  </a:cubicBezTo>
                  <a:close/>
                  <a:moveTo>
                    <a:pt x="443" y="1120"/>
                  </a:moveTo>
                  <a:cubicBezTo>
                    <a:pt x="460" y="1129"/>
                    <a:pt x="460" y="1129"/>
                    <a:pt x="460" y="1129"/>
                  </a:cubicBezTo>
                  <a:cubicBezTo>
                    <a:pt x="426" y="1101"/>
                    <a:pt x="394" y="1069"/>
                    <a:pt x="366" y="1035"/>
                  </a:cubicBezTo>
                  <a:cubicBezTo>
                    <a:pt x="375" y="1052"/>
                    <a:pt x="375" y="1052"/>
                    <a:pt x="375" y="1052"/>
                  </a:cubicBezTo>
                  <a:cubicBezTo>
                    <a:pt x="366" y="1057"/>
                    <a:pt x="366" y="1057"/>
                    <a:pt x="366" y="1057"/>
                  </a:cubicBezTo>
                  <a:cubicBezTo>
                    <a:pt x="388" y="1083"/>
                    <a:pt x="412" y="1107"/>
                    <a:pt x="438" y="1129"/>
                  </a:cubicBezTo>
                  <a:lnTo>
                    <a:pt x="443" y="1120"/>
                  </a:lnTo>
                  <a:close/>
                  <a:moveTo>
                    <a:pt x="1475" y="1035"/>
                  </a:moveTo>
                  <a:cubicBezTo>
                    <a:pt x="1446" y="1069"/>
                    <a:pt x="1415" y="1101"/>
                    <a:pt x="1381" y="1129"/>
                  </a:cubicBezTo>
                  <a:cubicBezTo>
                    <a:pt x="1398" y="1120"/>
                    <a:pt x="1398" y="1120"/>
                    <a:pt x="1398" y="1120"/>
                  </a:cubicBezTo>
                  <a:cubicBezTo>
                    <a:pt x="1403" y="1129"/>
                    <a:pt x="1403" y="1129"/>
                    <a:pt x="1403" y="1129"/>
                  </a:cubicBezTo>
                  <a:cubicBezTo>
                    <a:pt x="1428" y="1107"/>
                    <a:pt x="1452" y="1083"/>
                    <a:pt x="1474" y="1057"/>
                  </a:cubicBezTo>
                  <a:cubicBezTo>
                    <a:pt x="1465" y="1052"/>
                    <a:pt x="1465" y="1052"/>
                    <a:pt x="1465" y="1052"/>
                  </a:cubicBezTo>
                  <a:lnTo>
                    <a:pt x="1475" y="1035"/>
                  </a:lnTo>
                  <a:close/>
                  <a:moveTo>
                    <a:pt x="1500" y="1052"/>
                  </a:moveTo>
                  <a:cubicBezTo>
                    <a:pt x="1644" y="1128"/>
                    <a:pt x="1644" y="1128"/>
                    <a:pt x="1644" y="1128"/>
                  </a:cubicBezTo>
                  <a:cubicBezTo>
                    <a:pt x="1761" y="925"/>
                    <a:pt x="1761" y="925"/>
                    <a:pt x="1761" y="925"/>
                  </a:cubicBezTo>
                  <a:cubicBezTo>
                    <a:pt x="1624" y="839"/>
                    <a:pt x="1624" y="839"/>
                    <a:pt x="1624" y="839"/>
                  </a:cubicBezTo>
                  <a:cubicBezTo>
                    <a:pt x="1624" y="839"/>
                    <a:pt x="1624" y="840"/>
                    <a:pt x="1623" y="841"/>
                  </a:cubicBezTo>
                  <a:cubicBezTo>
                    <a:pt x="1620" y="849"/>
                    <a:pt x="1620" y="849"/>
                    <a:pt x="1620" y="849"/>
                  </a:cubicBezTo>
                  <a:cubicBezTo>
                    <a:pt x="1602" y="842"/>
                    <a:pt x="1602" y="842"/>
                    <a:pt x="1602" y="842"/>
                  </a:cubicBezTo>
                  <a:cubicBezTo>
                    <a:pt x="1742" y="930"/>
                    <a:pt x="1742" y="930"/>
                    <a:pt x="1742" y="930"/>
                  </a:cubicBezTo>
                  <a:cubicBezTo>
                    <a:pt x="1639" y="1109"/>
                    <a:pt x="1639" y="1109"/>
                    <a:pt x="1639" y="1109"/>
                  </a:cubicBezTo>
                  <a:cubicBezTo>
                    <a:pt x="1492" y="1032"/>
                    <a:pt x="1492" y="1032"/>
                    <a:pt x="1492" y="1032"/>
                  </a:cubicBezTo>
                  <a:cubicBezTo>
                    <a:pt x="1507" y="1044"/>
                    <a:pt x="1507" y="1044"/>
                    <a:pt x="1507" y="1044"/>
                  </a:cubicBezTo>
                  <a:cubicBezTo>
                    <a:pt x="1502" y="1050"/>
                    <a:pt x="1502" y="1050"/>
                    <a:pt x="1502" y="1050"/>
                  </a:cubicBezTo>
                  <a:cubicBezTo>
                    <a:pt x="1501" y="1051"/>
                    <a:pt x="1501" y="1052"/>
                    <a:pt x="1500" y="1052"/>
                  </a:cubicBezTo>
                  <a:close/>
                  <a:moveTo>
                    <a:pt x="79" y="925"/>
                  </a:moveTo>
                  <a:cubicBezTo>
                    <a:pt x="196" y="1128"/>
                    <a:pt x="196" y="1128"/>
                    <a:pt x="196" y="1128"/>
                  </a:cubicBezTo>
                  <a:cubicBezTo>
                    <a:pt x="340" y="1052"/>
                    <a:pt x="340" y="1052"/>
                    <a:pt x="340" y="1052"/>
                  </a:cubicBezTo>
                  <a:cubicBezTo>
                    <a:pt x="340" y="1052"/>
                    <a:pt x="339" y="1051"/>
                    <a:pt x="339" y="1050"/>
                  </a:cubicBezTo>
                  <a:cubicBezTo>
                    <a:pt x="334" y="1044"/>
                    <a:pt x="334" y="1044"/>
                    <a:pt x="334" y="1044"/>
                  </a:cubicBezTo>
                  <a:cubicBezTo>
                    <a:pt x="349" y="1032"/>
                    <a:pt x="349" y="1032"/>
                    <a:pt x="349" y="1032"/>
                  </a:cubicBezTo>
                  <a:cubicBezTo>
                    <a:pt x="202" y="1109"/>
                    <a:pt x="202" y="1109"/>
                    <a:pt x="202" y="1109"/>
                  </a:cubicBezTo>
                  <a:cubicBezTo>
                    <a:pt x="98" y="930"/>
                    <a:pt x="98" y="930"/>
                    <a:pt x="98" y="930"/>
                  </a:cubicBezTo>
                  <a:cubicBezTo>
                    <a:pt x="238" y="842"/>
                    <a:pt x="238" y="842"/>
                    <a:pt x="238" y="842"/>
                  </a:cubicBezTo>
                  <a:cubicBezTo>
                    <a:pt x="220" y="849"/>
                    <a:pt x="220" y="849"/>
                    <a:pt x="220" y="849"/>
                  </a:cubicBezTo>
                  <a:cubicBezTo>
                    <a:pt x="217" y="841"/>
                    <a:pt x="217" y="841"/>
                    <a:pt x="217" y="841"/>
                  </a:cubicBezTo>
                  <a:cubicBezTo>
                    <a:pt x="217" y="840"/>
                    <a:pt x="217" y="839"/>
                    <a:pt x="216" y="839"/>
                  </a:cubicBezTo>
                  <a:lnTo>
                    <a:pt x="79" y="925"/>
                  </a:lnTo>
                  <a:close/>
                  <a:moveTo>
                    <a:pt x="1630" y="696"/>
                  </a:moveTo>
                  <a:cubicBezTo>
                    <a:pt x="1623" y="741"/>
                    <a:pt x="1612" y="784"/>
                    <a:pt x="1596" y="825"/>
                  </a:cubicBezTo>
                  <a:cubicBezTo>
                    <a:pt x="1607" y="808"/>
                    <a:pt x="1607" y="808"/>
                    <a:pt x="1607" y="808"/>
                  </a:cubicBezTo>
                  <a:cubicBezTo>
                    <a:pt x="1615" y="814"/>
                    <a:pt x="1615" y="814"/>
                    <a:pt x="1615" y="814"/>
                  </a:cubicBezTo>
                  <a:cubicBezTo>
                    <a:pt x="1626" y="782"/>
                    <a:pt x="1635" y="749"/>
                    <a:pt x="1641" y="715"/>
                  </a:cubicBezTo>
                  <a:cubicBezTo>
                    <a:pt x="1631" y="716"/>
                    <a:pt x="1631" y="716"/>
                    <a:pt x="1631" y="716"/>
                  </a:cubicBezTo>
                  <a:lnTo>
                    <a:pt x="1630" y="696"/>
                  </a:lnTo>
                  <a:close/>
                  <a:moveTo>
                    <a:pt x="234" y="808"/>
                  </a:moveTo>
                  <a:cubicBezTo>
                    <a:pt x="244" y="825"/>
                    <a:pt x="244" y="825"/>
                    <a:pt x="244" y="825"/>
                  </a:cubicBezTo>
                  <a:cubicBezTo>
                    <a:pt x="229" y="784"/>
                    <a:pt x="218" y="741"/>
                    <a:pt x="210" y="696"/>
                  </a:cubicBezTo>
                  <a:cubicBezTo>
                    <a:pt x="209" y="716"/>
                    <a:pt x="209" y="716"/>
                    <a:pt x="209" y="716"/>
                  </a:cubicBezTo>
                  <a:cubicBezTo>
                    <a:pt x="199" y="715"/>
                    <a:pt x="199" y="715"/>
                    <a:pt x="199" y="715"/>
                  </a:cubicBezTo>
                  <a:cubicBezTo>
                    <a:pt x="205" y="749"/>
                    <a:pt x="214" y="782"/>
                    <a:pt x="225" y="814"/>
                  </a:cubicBezTo>
                  <a:lnTo>
                    <a:pt x="234" y="808"/>
                  </a:lnTo>
                  <a:close/>
                  <a:moveTo>
                    <a:pt x="1644" y="685"/>
                  </a:moveTo>
                  <a:cubicBezTo>
                    <a:pt x="1663" y="688"/>
                    <a:pt x="1663" y="688"/>
                    <a:pt x="1663" y="688"/>
                  </a:cubicBezTo>
                  <a:cubicBezTo>
                    <a:pt x="1662" y="696"/>
                    <a:pt x="1662" y="696"/>
                    <a:pt x="1662" y="696"/>
                  </a:cubicBezTo>
                  <a:cubicBezTo>
                    <a:pt x="1662" y="697"/>
                    <a:pt x="1661" y="697"/>
                    <a:pt x="1661" y="698"/>
                  </a:cubicBezTo>
                  <a:cubicBezTo>
                    <a:pt x="1824" y="692"/>
                    <a:pt x="1824" y="692"/>
                    <a:pt x="1824" y="692"/>
                  </a:cubicBezTo>
                  <a:cubicBezTo>
                    <a:pt x="1824" y="457"/>
                    <a:pt x="1824" y="457"/>
                    <a:pt x="1824" y="457"/>
                  </a:cubicBezTo>
                  <a:cubicBezTo>
                    <a:pt x="1661" y="451"/>
                    <a:pt x="1661" y="451"/>
                    <a:pt x="1661" y="451"/>
                  </a:cubicBezTo>
                  <a:cubicBezTo>
                    <a:pt x="1661" y="452"/>
                    <a:pt x="1662" y="453"/>
                    <a:pt x="1662" y="454"/>
                  </a:cubicBezTo>
                  <a:cubicBezTo>
                    <a:pt x="1663" y="462"/>
                    <a:pt x="1663" y="462"/>
                    <a:pt x="1663" y="462"/>
                  </a:cubicBezTo>
                  <a:cubicBezTo>
                    <a:pt x="1644" y="465"/>
                    <a:pt x="1644" y="465"/>
                    <a:pt x="1644" y="465"/>
                  </a:cubicBezTo>
                  <a:cubicBezTo>
                    <a:pt x="1809" y="471"/>
                    <a:pt x="1809" y="471"/>
                    <a:pt x="1809" y="471"/>
                  </a:cubicBezTo>
                  <a:cubicBezTo>
                    <a:pt x="1809" y="678"/>
                    <a:pt x="1809" y="678"/>
                    <a:pt x="1809" y="678"/>
                  </a:cubicBezTo>
                  <a:lnTo>
                    <a:pt x="1644" y="685"/>
                  </a:lnTo>
                  <a:close/>
                  <a:moveTo>
                    <a:pt x="17" y="692"/>
                  </a:moveTo>
                  <a:cubicBezTo>
                    <a:pt x="179" y="698"/>
                    <a:pt x="179" y="698"/>
                    <a:pt x="179" y="698"/>
                  </a:cubicBezTo>
                  <a:cubicBezTo>
                    <a:pt x="179" y="697"/>
                    <a:pt x="179" y="697"/>
                    <a:pt x="179" y="696"/>
                  </a:cubicBezTo>
                  <a:cubicBezTo>
                    <a:pt x="178" y="688"/>
                    <a:pt x="178" y="688"/>
                    <a:pt x="178" y="688"/>
                  </a:cubicBezTo>
                  <a:cubicBezTo>
                    <a:pt x="197" y="685"/>
                    <a:pt x="197" y="685"/>
                    <a:pt x="197" y="685"/>
                  </a:cubicBezTo>
                  <a:cubicBezTo>
                    <a:pt x="31" y="678"/>
                    <a:pt x="31" y="678"/>
                    <a:pt x="31" y="678"/>
                  </a:cubicBezTo>
                  <a:cubicBezTo>
                    <a:pt x="31" y="471"/>
                    <a:pt x="31" y="471"/>
                    <a:pt x="31" y="471"/>
                  </a:cubicBezTo>
                  <a:cubicBezTo>
                    <a:pt x="197" y="465"/>
                    <a:pt x="197" y="465"/>
                    <a:pt x="197" y="465"/>
                  </a:cubicBezTo>
                  <a:cubicBezTo>
                    <a:pt x="178" y="462"/>
                    <a:pt x="178" y="462"/>
                    <a:pt x="178" y="462"/>
                  </a:cubicBezTo>
                  <a:cubicBezTo>
                    <a:pt x="179" y="454"/>
                    <a:pt x="179" y="454"/>
                    <a:pt x="179" y="454"/>
                  </a:cubicBezTo>
                  <a:cubicBezTo>
                    <a:pt x="179" y="453"/>
                    <a:pt x="179" y="452"/>
                    <a:pt x="179" y="451"/>
                  </a:cubicBezTo>
                  <a:cubicBezTo>
                    <a:pt x="17" y="457"/>
                    <a:pt x="17" y="457"/>
                    <a:pt x="17" y="457"/>
                  </a:cubicBezTo>
                  <a:lnTo>
                    <a:pt x="17" y="692"/>
                  </a:lnTo>
                  <a:close/>
                  <a:moveTo>
                    <a:pt x="209" y="434"/>
                  </a:moveTo>
                  <a:cubicBezTo>
                    <a:pt x="210" y="453"/>
                    <a:pt x="210" y="453"/>
                    <a:pt x="210" y="453"/>
                  </a:cubicBezTo>
                  <a:cubicBezTo>
                    <a:pt x="218" y="409"/>
                    <a:pt x="229" y="366"/>
                    <a:pt x="244" y="325"/>
                  </a:cubicBezTo>
                  <a:cubicBezTo>
                    <a:pt x="234" y="341"/>
                    <a:pt x="234" y="341"/>
                    <a:pt x="234" y="341"/>
                  </a:cubicBezTo>
                  <a:cubicBezTo>
                    <a:pt x="225" y="336"/>
                    <a:pt x="225" y="336"/>
                    <a:pt x="225" y="336"/>
                  </a:cubicBezTo>
                  <a:cubicBezTo>
                    <a:pt x="214" y="368"/>
                    <a:pt x="206" y="401"/>
                    <a:pt x="199" y="434"/>
                  </a:cubicBezTo>
                  <a:lnTo>
                    <a:pt x="209" y="434"/>
                  </a:lnTo>
                  <a:close/>
                  <a:moveTo>
                    <a:pt x="1596" y="325"/>
                  </a:moveTo>
                  <a:cubicBezTo>
                    <a:pt x="1612" y="366"/>
                    <a:pt x="1623" y="409"/>
                    <a:pt x="1630" y="453"/>
                  </a:cubicBezTo>
                  <a:cubicBezTo>
                    <a:pt x="1631" y="434"/>
                    <a:pt x="1631" y="434"/>
                    <a:pt x="1631" y="434"/>
                  </a:cubicBezTo>
                  <a:cubicBezTo>
                    <a:pt x="1641" y="434"/>
                    <a:pt x="1641" y="434"/>
                    <a:pt x="1641" y="434"/>
                  </a:cubicBezTo>
                  <a:cubicBezTo>
                    <a:pt x="1635" y="401"/>
                    <a:pt x="1626" y="368"/>
                    <a:pt x="1615" y="336"/>
                  </a:cubicBezTo>
                  <a:cubicBezTo>
                    <a:pt x="1607" y="341"/>
                    <a:pt x="1607" y="341"/>
                    <a:pt x="1607" y="341"/>
                  </a:cubicBezTo>
                  <a:lnTo>
                    <a:pt x="1596" y="325"/>
                  </a:lnTo>
                  <a:close/>
                  <a:moveTo>
                    <a:pt x="1620" y="301"/>
                  </a:moveTo>
                  <a:cubicBezTo>
                    <a:pt x="1623" y="309"/>
                    <a:pt x="1623" y="309"/>
                    <a:pt x="1623" y="309"/>
                  </a:cubicBezTo>
                  <a:cubicBezTo>
                    <a:pt x="1624" y="309"/>
                    <a:pt x="1624" y="310"/>
                    <a:pt x="1624" y="311"/>
                  </a:cubicBezTo>
                  <a:cubicBezTo>
                    <a:pt x="1761" y="225"/>
                    <a:pt x="1761" y="225"/>
                    <a:pt x="1761" y="225"/>
                  </a:cubicBezTo>
                  <a:cubicBezTo>
                    <a:pt x="1644" y="21"/>
                    <a:pt x="1644" y="21"/>
                    <a:pt x="1644" y="21"/>
                  </a:cubicBezTo>
                  <a:cubicBezTo>
                    <a:pt x="1582" y="54"/>
                    <a:pt x="1582" y="54"/>
                    <a:pt x="1582" y="54"/>
                  </a:cubicBezTo>
                  <a:cubicBezTo>
                    <a:pt x="1581" y="71"/>
                    <a:pt x="1581" y="71"/>
                    <a:pt x="1581" y="71"/>
                  </a:cubicBezTo>
                  <a:cubicBezTo>
                    <a:pt x="1639" y="41"/>
                    <a:pt x="1639" y="41"/>
                    <a:pt x="1639" y="41"/>
                  </a:cubicBezTo>
                  <a:cubicBezTo>
                    <a:pt x="1742" y="220"/>
                    <a:pt x="1742" y="220"/>
                    <a:pt x="1742" y="220"/>
                  </a:cubicBezTo>
                  <a:cubicBezTo>
                    <a:pt x="1602" y="308"/>
                    <a:pt x="1602" y="308"/>
                    <a:pt x="1602" y="308"/>
                  </a:cubicBezTo>
                  <a:lnTo>
                    <a:pt x="1620" y="301"/>
                  </a:lnTo>
                  <a:close/>
                  <a:moveTo>
                    <a:pt x="79" y="225"/>
                  </a:moveTo>
                  <a:cubicBezTo>
                    <a:pt x="216" y="311"/>
                    <a:pt x="216" y="311"/>
                    <a:pt x="216" y="311"/>
                  </a:cubicBezTo>
                  <a:cubicBezTo>
                    <a:pt x="217" y="310"/>
                    <a:pt x="217" y="309"/>
                    <a:pt x="217" y="309"/>
                  </a:cubicBezTo>
                  <a:cubicBezTo>
                    <a:pt x="220" y="301"/>
                    <a:pt x="220" y="301"/>
                    <a:pt x="220" y="301"/>
                  </a:cubicBezTo>
                  <a:cubicBezTo>
                    <a:pt x="238" y="308"/>
                    <a:pt x="238" y="308"/>
                    <a:pt x="238" y="308"/>
                  </a:cubicBezTo>
                  <a:cubicBezTo>
                    <a:pt x="98" y="220"/>
                    <a:pt x="98" y="220"/>
                    <a:pt x="98" y="220"/>
                  </a:cubicBezTo>
                  <a:cubicBezTo>
                    <a:pt x="202" y="41"/>
                    <a:pt x="202" y="41"/>
                    <a:pt x="202" y="41"/>
                  </a:cubicBezTo>
                  <a:cubicBezTo>
                    <a:pt x="259" y="71"/>
                    <a:pt x="259" y="71"/>
                    <a:pt x="259" y="71"/>
                  </a:cubicBezTo>
                  <a:cubicBezTo>
                    <a:pt x="258" y="54"/>
                    <a:pt x="258" y="54"/>
                    <a:pt x="258" y="54"/>
                  </a:cubicBezTo>
                  <a:cubicBezTo>
                    <a:pt x="196" y="21"/>
                    <a:pt x="196" y="21"/>
                    <a:pt x="196" y="21"/>
                  </a:cubicBezTo>
                  <a:lnTo>
                    <a:pt x="79" y="2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00E9CA7-C357-4FA2-C6E0-B953ED335C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" y="2506"/>
              <a:ext cx="6" cy="7"/>
            </a:xfrm>
            <a:custGeom>
              <a:avLst/>
              <a:gdLst>
                <a:gd name="T0" fmla="*/ 12 w 19"/>
                <a:gd name="T1" fmla="*/ 0 h 20"/>
                <a:gd name="T2" fmla="*/ 0 w 19"/>
                <a:gd name="T3" fmla="*/ 10 h 20"/>
                <a:gd name="T4" fmla="*/ 8 w 19"/>
                <a:gd name="T5" fmla="*/ 20 h 20"/>
                <a:gd name="T6" fmla="*/ 19 w 19"/>
                <a:gd name="T7" fmla="*/ 14 h 20"/>
                <a:gd name="T8" fmla="*/ 12 w 19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12" y="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3" y="13"/>
                    <a:pt x="6" y="16"/>
                    <a:pt x="8" y="20"/>
                  </a:cubicBezTo>
                  <a:cubicBezTo>
                    <a:pt x="19" y="14"/>
                    <a:pt x="19" y="14"/>
                    <a:pt x="19" y="14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05867401-11EC-4582-232C-0EA912BC3B5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" y="2396"/>
              <a:ext cx="5" cy="5"/>
            </a:xfrm>
            <a:custGeom>
              <a:avLst/>
              <a:gdLst>
                <a:gd name="T0" fmla="*/ 0 w 16"/>
                <a:gd name="T1" fmla="*/ 0 h 15"/>
                <a:gd name="T2" fmla="*/ 1 w 16"/>
                <a:gd name="T3" fmla="*/ 15 h 15"/>
                <a:gd name="T4" fmla="*/ 13 w 16"/>
                <a:gd name="T5" fmla="*/ 15 h 15"/>
                <a:gd name="T6" fmla="*/ 16 w 16"/>
                <a:gd name="T7" fmla="*/ 2 h 15"/>
                <a:gd name="T8" fmla="*/ 0 w 16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0" y="0"/>
                  </a:moveTo>
                  <a:cubicBezTo>
                    <a:pt x="1" y="15"/>
                    <a:pt x="1" y="15"/>
                    <a:pt x="1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4" y="11"/>
                    <a:pt x="15" y="7"/>
                    <a:pt x="16" y="2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7C023658-D846-25E2-EC7C-3995E5DF2B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" y="2437"/>
              <a:ext cx="6" cy="6"/>
            </a:xfrm>
            <a:custGeom>
              <a:avLst/>
              <a:gdLst>
                <a:gd name="T0" fmla="*/ 18 w 18"/>
                <a:gd name="T1" fmla="*/ 13 h 18"/>
                <a:gd name="T2" fmla="*/ 10 w 18"/>
                <a:gd name="T3" fmla="*/ 0 h 18"/>
                <a:gd name="T4" fmla="*/ 0 w 18"/>
                <a:gd name="T5" fmla="*/ 6 h 18"/>
                <a:gd name="T6" fmla="*/ 4 w 18"/>
                <a:gd name="T7" fmla="*/ 18 h 18"/>
                <a:gd name="T8" fmla="*/ 18 w 18"/>
                <a:gd name="T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8" y="13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10"/>
                    <a:pt x="2" y="14"/>
                    <a:pt x="4" y="18"/>
                  </a:cubicBezTo>
                  <a:lnTo>
                    <a:pt x="18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55" name="Freeform 33">
              <a:extLst>
                <a:ext uri="{FF2B5EF4-FFF2-40B4-BE49-F238E27FC236}">
                  <a16:creationId xmlns:a16="http://schemas.microsoft.com/office/drawing/2014/main" id="{990DD80A-CF7B-D8F6-B117-71ACB2C63EA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" y="2590"/>
              <a:ext cx="5" cy="4"/>
            </a:xfrm>
            <a:custGeom>
              <a:avLst/>
              <a:gdLst>
                <a:gd name="T0" fmla="*/ 15 w 15"/>
                <a:gd name="T1" fmla="*/ 0 h 15"/>
                <a:gd name="T2" fmla="*/ 0 w 15"/>
                <a:gd name="T3" fmla="*/ 1 h 15"/>
                <a:gd name="T4" fmla="*/ 0 w 15"/>
                <a:gd name="T5" fmla="*/ 13 h 15"/>
                <a:gd name="T6" fmla="*/ 13 w 15"/>
                <a:gd name="T7" fmla="*/ 15 h 15"/>
                <a:gd name="T8" fmla="*/ 15 w 15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4" y="14"/>
                    <a:pt x="8" y="15"/>
                    <a:pt x="13" y="15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56" name="Freeform 34">
              <a:extLst>
                <a:ext uri="{FF2B5EF4-FFF2-40B4-BE49-F238E27FC236}">
                  <a16:creationId xmlns:a16="http://schemas.microsoft.com/office/drawing/2014/main" id="{CC1E0F1E-B405-3016-2932-4EC1B573D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" y="2396"/>
              <a:ext cx="5" cy="5"/>
            </a:xfrm>
            <a:custGeom>
              <a:avLst/>
              <a:gdLst>
                <a:gd name="T0" fmla="*/ 15 w 15"/>
                <a:gd name="T1" fmla="*/ 0 h 15"/>
                <a:gd name="T2" fmla="*/ 0 w 15"/>
                <a:gd name="T3" fmla="*/ 2 h 15"/>
                <a:gd name="T4" fmla="*/ 2 w 15"/>
                <a:gd name="T5" fmla="*/ 15 h 15"/>
                <a:gd name="T6" fmla="*/ 14 w 15"/>
                <a:gd name="T7" fmla="*/ 15 h 15"/>
                <a:gd name="T8" fmla="*/ 15 w 15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7"/>
                    <a:pt x="1" y="11"/>
                    <a:pt x="2" y="15"/>
                  </a:cubicBezTo>
                  <a:cubicBezTo>
                    <a:pt x="14" y="15"/>
                    <a:pt x="14" y="15"/>
                    <a:pt x="14" y="15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57" name="Freeform 35">
              <a:extLst>
                <a:ext uri="{FF2B5EF4-FFF2-40B4-BE49-F238E27FC236}">
                  <a16:creationId xmlns:a16="http://schemas.microsoft.com/office/drawing/2014/main" id="{4362F64E-3922-7963-8999-B365A5671C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" y="2059"/>
              <a:ext cx="125" cy="191"/>
            </a:xfrm>
            <a:custGeom>
              <a:avLst/>
              <a:gdLst>
                <a:gd name="T0" fmla="*/ 230 w 386"/>
                <a:gd name="T1" fmla="*/ 0 h 592"/>
                <a:gd name="T2" fmla="*/ 206 w 386"/>
                <a:gd name="T3" fmla="*/ 0 h 592"/>
                <a:gd name="T4" fmla="*/ 0 w 386"/>
                <a:gd name="T5" fmla="*/ 208 h 592"/>
                <a:gd name="T6" fmla="*/ 4 w 386"/>
                <a:gd name="T7" fmla="*/ 269 h 592"/>
                <a:gd name="T8" fmla="*/ 15 w 386"/>
                <a:gd name="T9" fmla="*/ 402 h 592"/>
                <a:gd name="T10" fmla="*/ 18 w 386"/>
                <a:gd name="T11" fmla="*/ 438 h 592"/>
                <a:gd name="T12" fmla="*/ 24 w 386"/>
                <a:gd name="T13" fmla="*/ 514 h 592"/>
                <a:gd name="T14" fmla="*/ 113 w 386"/>
                <a:gd name="T15" fmla="*/ 592 h 592"/>
                <a:gd name="T16" fmla="*/ 103 w 386"/>
                <a:gd name="T17" fmla="*/ 543 h 592"/>
                <a:gd name="T18" fmla="*/ 53 w 386"/>
                <a:gd name="T19" fmla="*/ 499 h 592"/>
                <a:gd name="T20" fmla="*/ 50 w 386"/>
                <a:gd name="T21" fmla="*/ 455 h 592"/>
                <a:gd name="T22" fmla="*/ 47 w 386"/>
                <a:gd name="T23" fmla="*/ 419 h 592"/>
                <a:gd name="T24" fmla="*/ 34 w 386"/>
                <a:gd name="T25" fmla="*/ 267 h 592"/>
                <a:gd name="T26" fmla="*/ 31 w 386"/>
                <a:gd name="T27" fmla="*/ 207 h 592"/>
                <a:gd name="T28" fmla="*/ 206 w 386"/>
                <a:gd name="T29" fmla="*/ 30 h 592"/>
                <a:gd name="T30" fmla="*/ 230 w 386"/>
                <a:gd name="T31" fmla="*/ 30 h 592"/>
                <a:gd name="T32" fmla="*/ 363 w 386"/>
                <a:gd name="T33" fmla="*/ 93 h 592"/>
                <a:gd name="T34" fmla="*/ 386 w 386"/>
                <a:gd name="T35" fmla="*/ 74 h 592"/>
                <a:gd name="T36" fmla="*/ 230 w 386"/>
                <a:gd name="T37" fmla="*/ 0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6" h="592">
                  <a:moveTo>
                    <a:pt x="230" y="0"/>
                  </a:moveTo>
                  <a:cubicBezTo>
                    <a:pt x="206" y="0"/>
                    <a:pt x="206" y="0"/>
                    <a:pt x="206" y="0"/>
                  </a:cubicBezTo>
                  <a:cubicBezTo>
                    <a:pt x="93" y="0"/>
                    <a:pt x="0" y="93"/>
                    <a:pt x="0" y="208"/>
                  </a:cubicBezTo>
                  <a:cubicBezTo>
                    <a:pt x="4" y="269"/>
                    <a:pt x="4" y="269"/>
                    <a:pt x="4" y="269"/>
                  </a:cubicBezTo>
                  <a:cubicBezTo>
                    <a:pt x="15" y="402"/>
                    <a:pt x="15" y="402"/>
                    <a:pt x="15" y="402"/>
                  </a:cubicBezTo>
                  <a:cubicBezTo>
                    <a:pt x="18" y="438"/>
                    <a:pt x="18" y="438"/>
                    <a:pt x="18" y="438"/>
                  </a:cubicBezTo>
                  <a:cubicBezTo>
                    <a:pt x="24" y="514"/>
                    <a:pt x="24" y="514"/>
                    <a:pt x="24" y="514"/>
                  </a:cubicBezTo>
                  <a:cubicBezTo>
                    <a:pt x="113" y="592"/>
                    <a:pt x="113" y="592"/>
                    <a:pt x="113" y="592"/>
                  </a:cubicBezTo>
                  <a:cubicBezTo>
                    <a:pt x="103" y="543"/>
                    <a:pt x="103" y="543"/>
                    <a:pt x="103" y="543"/>
                  </a:cubicBezTo>
                  <a:cubicBezTo>
                    <a:pt x="53" y="499"/>
                    <a:pt x="53" y="499"/>
                    <a:pt x="53" y="499"/>
                  </a:cubicBezTo>
                  <a:cubicBezTo>
                    <a:pt x="50" y="455"/>
                    <a:pt x="50" y="455"/>
                    <a:pt x="50" y="455"/>
                  </a:cubicBezTo>
                  <a:cubicBezTo>
                    <a:pt x="47" y="419"/>
                    <a:pt x="47" y="419"/>
                    <a:pt x="47" y="419"/>
                  </a:cubicBezTo>
                  <a:cubicBezTo>
                    <a:pt x="34" y="267"/>
                    <a:pt x="34" y="267"/>
                    <a:pt x="34" y="267"/>
                  </a:cubicBezTo>
                  <a:cubicBezTo>
                    <a:pt x="31" y="207"/>
                    <a:pt x="31" y="207"/>
                    <a:pt x="31" y="207"/>
                  </a:cubicBezTo>
                  <a:cubicBezTo>
                    <a:pt x="31" y="110"/>
                    <a:pt x="109" y="30"/>
                    <a:pt x="206" y="30"/>
                  </a:cubicBezTo>
                  <a:cubicBezTo>
                    <a:pt x="230" y="30"/>
                    <a:pt x="230" y="30"/>
                    <a:pt x="230" y="30"/>
                  </a:cubicBezTo>
                  <a:cubicBezTo>
                    <a:pt x="282" y="30"/>
                    <a:pt x="330" y="53"/>
                    <a:pt x="363" y="93"/>
                  </a:cubicBezTo>
                  <a:cubicBezTo>
                    <a:pt x="386" y="74"/>
                    <a:pt x="386" y="74"/>
                    <a:pt x="386" y="74"/>
                  </a:cubicBezTo>
                  <a:cubicBezTo>
                    <a:pt x="348" y="27"/>
                    <a:pt x="291" y="0"/>
                    <a:pt x="2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58" name="Freeform 36">
              <a:extLst>
                <a:ext uri="{FF2B5EF4-FFF2-40B4-BE49-F238E27FC236}">
                  <a16:creationId xmlns:a16="http://schemas.microsoft.com/office/drawing/2014/main" id="{E3C738D3-D10F-F105-2442-D3203F28D4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" y="2056"/>
              <a:ext cx="132" cy="201"/>
            </a:xfrm>
            <a:custGeom>
              <a:avLst/>
              <a:gdLst>
                <a:gd name="T0" fmla="*/ 134 w 406"/>
                <a:gd name="T1" fmla="*/ 622 h 622"/>
                <a:gd name="T2" fmla="*/ 24 w 406"/>
                <a:gd name="T3" fmla="*/ 526 h 622"/>
                <a:gd name="T4" fmla="*/ 4 w 406"/>
                <a:gd name="T5" fmla="*/ 277 h 622"/>
                <a:gd name="T6" fmla="*/ 0 w 406"/>
                <a:gd name="T7" fmla="*/ 217 h 622"/>
                <a:gd name="T8" fmla="*/ 63 w 406"/>
                <a:gd name="T9" fmla="*/ 63 h 622"/>
                <a:gd name="T10" fmla="*/ 214 w 406"/>
                <a:gd name="T11" fmla="*/ 0 h 622"/>
                <a:gd name="T12" fmla="*/ 238 w 406"/>
                <a:gd name="T13" fmla="*/ 0 h 622"/>
                <a:gd name="T14" fmla="*/ 400 w 406"/>
                <a:gd name="T15" fmla="*/ 76 h 622"/>
                <a:gd name="T16" fmla="*/ 406 w 406"/>
                <a:gd name="T17" fmla="*/ 83 h 622"/>
                <a:gd name="T18" fmla="*/ 369 w 406"/>
                <a:gd name="T19" fmla="*/ 113 h 622"/>
                <a:gd name="T20" fmla="*/ 364 w 406"/>
                <a:gd name="T21" fmla="*/ 106 h 622"/>
                <a:gd name="T22" fmla="*/ 238 w 406"/>
                <a:gd name="T23" fmla="*/ 47 h 622"/>
                <a:gd name="T24" fmla="*/ 214 w 406"/>
                <a:gd name="T25" fmla="*/ 47 h 622"/>
                <a:gd name="T26" fmla="*/ 47 w 406"/>
                <a:gd name="T27" fmla="*/ 215 h 622"/>
                <a:gd name="T28" fmla="*/ 50 w 406"/>
                <a:gd name="T29" fmla="*/ 274 h 622"/>
                <a:gd name="T30" fmla="*/ 69 w 406"/>
                <a:gd name="T31" fmla="*/ 503 h 622"/>
                <a:gd name="T32" fmla="*/ 119 w 406"/>
                <a:gd name="T33" fmla="*/ 547 h 622"/>
                <a:gd name="T34" fmla="*/ 134 w 406"/>
                <a:gd name="T35" fmla="*/ 622 h 622"/>
                <a:gd name="T36" fmla="*/ 40 w 406"/>
                <a:gd name="T37" fmla="*/ 518 h 622"/>
                <a:gd name="T38" fmla="*/ 108 w 406"/>
                <a:gd name="T39" fmla="*/ 578 h 622"/>
                <a:gd name="T40" fmla="*/ 104 w 406"/>
                <a:gd name="T41" fmla="*/ 555 h 622"/>
                <a:gd name="T42" fmla="*/ 53 w 406"/>
                <a:gd name="T43" fmla="*/ 511 h 622"/>
                <a:gd name="T44" fmla="*/ 34 w 406"/>
                <a:gd name="T45" fmla="*/ 275 h 622"/>
                <a:gd name="T46" fmla="*/ 30 w 406"/>
                <a:gd name="T47" fmla="*/ 216 h 622"/>
                <a:gd name="T48" fmla="*/ 214 w 406"/>
                <a:gd name="T49" fmla="*/ 30 h 622"/>
                <a:gd name="T50" fmla="*/ 238 w 406"/>
                <a:gd name="T51" fmla="*/ 30 h 622"/>
                <a:gd name="T52" fmla="*/ 372 w 406"/>
                <a:gd name="T53" fmla="*/ 90 h 622"/>
                <a:gd name="T54" fmla="*/ 382 w 406"/>
                <a:gd name="T55" fmla="*/ 81 h 622"/>
                <a:gd name="T56" fmla="*/ 238 w 406"/>
                <a:gd name="T57" fmla="*/ 16 h 622"/>
                <a:gd name="T58" fmla="*/ 214 w 406"/>
                <a:gd name="T59" fmla="*/ 16 h 622"/>
                <a:gd name="T60" fmla="*/ 74 w 406"/>
                <a:gd name="T61" fmla="*/ 75 h 622"/>
                <a:gd name="T62" fmla="*/ 16 w 406"/>
                <a:gd name="T63" fmla="*/ 216 h 622"/>
                <a:gd name="T64" fmla="*/ 20 w 406"/>
                <a:gd name="T65" fmla="*/ 276 h 622"/>
                <a:gd name="T66" fmla="*/ 40 w 406"/>
                <a:gd name="T67" fmla="*/ 518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6" h="622">
                  <a:moveTo>
                    <a:pt x="134" y="622"/>
                  </a:moveTo>
                  <a:cubicBezTo>
                    <a:pt x="24" y="526"/>
                    <a:pt x="24" y="526"/>
                    <a:pt x="24" y="526"/>
                  </a:cubicBezTo>
                  <a:cubicBezTo>
                    <a:pt x="4" y="277"/>
                    <a:pt x="4" y="277"/>
                    <a:pt x="4" y="27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8"/>
                    <a:pt x="22" y="104"/>
                    <a:pt x="63" y="63"/>
                  </a:cubicBezTo>
                  <a:cubicBezTo>
                    <a:pt x="103" y="22"/>
                    <a:pt x="157" y="0"/>
                    <a:pt x="214" y="0"/>
                  </a:cubicBezTo>
                  <a:cubicBezTo>
                    <a:pt x="238" y="0"/>
                    <a:pt x="238" y="0"/>
                    <a:pt x="238" y="0"/>
                  </a:cubicBezTo>
                  <a:cubicBezTo>
                    <a:pt x="301" y="0"/>
                    <a:pt x="360" y="28"/>
                    <a:pt x="400" y="76"/>
                  </a:cubicBezTo>
                  <a:cubicBezTo>
                    <a:pt x="406" y="83"/>
                    <a:pt x="406" y="83"/>
                    <a:pt x="406" y="83"/>
                  </a:cubicBezTo>
                  <a:cubicBezTo>
                    <a:pt x="369" y="113"/>
                    <a:pt x="369" y="113"/>
                    <a:pt x="369" y="113"/>
                  </a:cubicBezTo>
                  <a:cubicBezTo>
                    <a:pt x="364" y="106"/>
                    <a:pt x="364" y="106"/>
                    <a:pt x="364" y="106"/>
                  </a:cubicBezTo>
                  <a:cubicBezTo>
                    <a:pt x="333" y="68"/>
                    <a:pt x="287" y="47"/>
                    <a:pt x="238" y="47"/>
                  </a:cubicBezTo>
                  <a:cubicBezTo>
                    <a:pt x="214" y="47"/>
                    <a:pt x="214" y="47"/>
                    <a:pt x="214" y="47"/>
                  </a:cubicBezTo>
                  <a:cubicBezTo>
                    <a:pt x="122" y="47"/>
                    <a:pt x="47" y="122"/>
                    <a:pt x="47" y="215"/>
                  </a:cubicBezTo>
                  <a:cubicBezTo>
                    <a:pt x="50" y="274"/>
                    <a:pt x="50" y="274"/>
                    <a:pt x="50" y="274"/>
                  </a:cubicBezTo>
                  <a:cubicBezTo>
                    <a:pt x="69" y="503"/>
                    <a:pt x="69" y="503"/>
                    <a:pt x="69" y="503"/>
                  </a:cubicBezTo>
                  <a:cubicBezTo>
                    <a:pt x="119" y="547"/>
                    <a:pt x="119" y="547"/>
                    <a:pt x="119" y="547"/>
                  </a:cubicBezTo>
                  <a:lnTo>
                    <a:pt x="134" y="622"/>
                  </a:lnTo>
                  <a:close/>
                  <a:moveTo>
                    <a:pt x="40" y="518"/>
                  </a:moveTo>
                  <a:cubicBezTo>
                    <a:pt x="108" y="578"/>
                    <a:pt x="108" y="578"/>
                    <a:pt x="108" y="578"/>
                  </a:cubicBezTo>
                  <a:cubicBezTo>
                    <a:pt x="104" y="555"/>
                    <a:pt x="104" y="555"/>
                    <a:pt x="104" y="555"/>
                  </a:cubicBezTo>
                  <a:cubicBezTo>
                    <a:pt x="53" y="511"/>
                    <a:pt x="53" y="511"/>
                    <a:pt x="53" y="511"/>
                  </a:cubicBezTo>
                  <a:cubicBezTo>
                    <a:pt x="34" y="275"/>
                    <a:pt x="34" y="275"/>
                    <a:pt x="34" y="275"/>
                  </a:cubicBezTo>
                  <a:cubicBezTo>
                    <a:pt x="30" y="216"/>
                    <a:pt x="30" y="216"/>
                    <a:pt x="30" y="216"/>
                  </a:cubicBezTo>
                  <a:cubicBezTo>
                    <a:pt x="30" y="113"/>
                    <a:pt x="113" y="30"/>
                    <a:pt x="214" y="30"/>
                  </a:cubicBezTo>
                  <a:cubicBezTo>
                    <a:pt x="238" y="30"/>
                    <a:pt x="238" y="30"/>
                    <a:pt x="238" y="30"/>
                  </a:cubicBezTo>
                  <a:cubicBezTo>
                    <a:pt x="289" y="30"/>
                    <a:pt x="337" y="52"/>
                    <a:pt x="372" y="90"/>
                  </a:cubicBezTo>
                  <a:cubicBezTo>
                    <a:pt x="382" y="81"/>
                    <a:pt x="382" y="81"/>
                    <a:pt x="382" y="81"/>
                  </a:cubicBezTo>
                  <a:cubicBezTo>
                    <a:pt x="346" y="39"/>
                    <a:pt x="293" y="16"/>
                    <a:pt x="238" y="16"/>
                  </a:cubicBezTo>
                  <a:cubicBezTo>
                    <a:pt x="214" y="16"/>
                    <a:pt x="214" y="16"/>
                    <a:pt x="214" y="16"/>
                  </a:cubicBezTo>
                  <a:cubicBezTo>
                    <a:pt x="161" y="16"/>
                    <a:pt x="112" y="37"/>
                    <a:pt x="74" y="75"/>
                  </a:cubicBezTo>
                  <a:cubicBezTo>
                    <a:pt x="37" y="112"/>
                    <a:pt x="16" y="163"/>
                    <a:pt x="16" y="216"/>
                  </a:cubicBezTo>
                  <a:cubicBezTo>
                    <a:pt x="20" y="276"/>
                    <a:pt x="20" y="276"/>
                    <a:pt x="20" y="276"/>
                  </a:cubicBezTo>
                  <a:lnTo>
                    <a:pt x="40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59" name="Freeform 37">
              <a:extLst>
                <a:ext uri="{FF2B5EF4-FFF2-40B4-BE49-F238E27FC236}">
                  <a16:creationId xmlns:a16="http://schemas.microsoft.com/office/drawing/2014/main" id="{AA0CD578-0853-7F2D-4C21-DAC11DF3C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" y="2059"/>
              <a:ext cx="125" cy="191"/>
            </a:xfrm>
            <a:custGeom>
              <a:avLst/>
              <a:gdLst>
                <a:gd name="T0" fmla="*/ 180 w 386"/>
                <a:gd name="T1" fmla="*/ 0 h 592"/>
                <a:gd name="T2" fmla="*/ 156 w 386"/>
                <a:gd name="T3" fmla="*/ 0 h 592"/>
                <a:gd name="T4" fmla="*/ 0 w 386"/>
                <a:gd name="T5" fmla="*/ 74 h 592"/>
                <a:gd name="T6" fmla="*/ 24 w 386"/>
                <a:gd name="T7" fmla="*/ 93 h 592"/>
                <a:gd name="T8" fmla="*/ 156 w 386"/>
                <a:gd name="T9" fmla="*/ 30 h 592"/>
                <a:gd name="T10" fmla="*/ 180 w 386"/>
                <a:gd name="T11" fmla="*/ 30 h 592"/>
                <a:gd name="T12" fmla="*/ 356 w 386"/>
                <a:gd name="T13" fmla="*/ 206 h 592"/>
                <a:gd name="T14" fmla="*/ 352 w 386"/>
                <a:gd name="T15" fmla="*/ 266 h 592"/>
                <a:gd name="T16" fmla="*/ 340 w 386"/>
                <a:gd name="T17" fmla="*/ 419 h 592"/>
                <a:gd name="T18" fmla="*/ 337 w 386"/>
                <a:gd name="T19" fmla="*/ 455 h 592"/>
                <a:gd name="T20" fmla="*/ 333 w 386"/>
                <a:gd name="T21" fmla="*/ 499 h 592"/>
                <a:gd name="T22" fmla="*/ 283 w 386"/>
                <a:gd name="T23" fmla="*/ 543 h 592"/>
                <a:gd name="T24" fmla="*/ 273 w 386"/>
                <a:gd name="T25" fmla="*/ 592 h 592"/>
                <a:gd name="T26" fmla="*/ 362 w 386"/>
                <a:gd name="T27" fmla="*/ 514 h 592"/>
                <a:gd name="T28" fmla="*/ 369 w 386"/>
                <a:gd name="T29" fmla="*/ 438 h 592"/>
                <a:gd name="T30" fmla="*/ 372 w 386"/>
                <a:gd name="T31" fmla="*/ 402 h 592"/>
                <a:gd name="T32" fmla="*/ 383 w 386"/>
                <a:gd name="T33" fmla="*/ 268 h 592"/>
                <a:gd name="T34" fmla="*/ 386 w 386"/>
                <a:gd name="T35" fmla="*/ 207 h 592"/>
                <a:gd name="T36" fmla="*/ 180 w 386"/>
                <a:gd name="T37" fmla="*/ 0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6" h="592">
                  <a:moveTo>
                    <a:pt x="180" y="0"/>
                  </a:moveTo>
                  <a:cubicBezTo>
                    <a:pt x="156" y="0"/>
                    <a:pt x="156" y="0"/>
                    <a:pt x="156" y="0"/>
                  </a:cubicBezTo>
                  <a:cubicBezTo>
                    <a:pt x="96" y="0"/>
                    <a:pt x="39" y="27"/>
                    <a:pt x="0" y="74"/>
                  </a:cubicBezTo>
                  <a:cubicBezTo>
                    <a:pt x="24" y="93"/>
                    <a:pt x="24" y="93"/>
                    <a:pt x="24" y="93"/>
                  </a:cubicBezTo>
                  <a:cubicBezTo>
                    <a:pt x="57" y="53"/>
                    <a:pt x="105" y="30"/>
                    <a:pt x="156" y="30"/>
                  </a:cubicBezTo>
                  <a:cubicBezTo>
                    <a:pt x="180" y="30"/>
                    <a:pt x="180" y="30"/>
                    <a:pt x="180" y="30"/>
                  </a:cubicBezTo>
                  <a:cubicBezTo>
                    <a:pt x="277" y="30"/>
                    <a:pt x="356" y="110"/>
                    <a:pt x="356" y="206"/>
                  </a:cubicBezTo>
                  <a:cubicBezTo>
                    <a:pt x="352" y="266"/>
                    <a:pt x="352" y="266"/>
                    <a:pt x="352" y="266"/>
                  </a:cubicBezTo>
                  <a:cubicBezTo>
                    <a:pt x="340" y="419"/>
                    <a:pt x="340" y="419"/>
                    <a:pt x="340" y="419"/>
                  </a:cubicBezTo>
                  <a:cubicBezTo>
                    <a:pt x="337" y="455"/>
                    <a:pt x="337" y="455"/>
                    <a:pt x="337" y="455"/>
                  </a:cubicBezTo>
                  <a:cubicBezTo>
                    <a:pt x="333" y="499"/>
                    <a:pt x="333" y="499"/>
                    <a:pt x="333" y="499"/>
                  </a:cubicBezTo>
                  <a:cubicBezTo>
                    <a:pt x="283" y="543"/>
                    <a:pt x="283" y="543"/>
                    <a:pt x="283" y="543"/>
                  </a:cubicBezTo>
                  <a:cubicBezTo>
                    <a:pt x="273" y="592"/>
                    <a:pt x="273" y="592"/>
                    <a:pt x="273" y="592"/>
                  </a:cubicBezTo>
                  <a:cubicBezTo>
                    <a:pt x="362" y="514"/>
                    <a:pt x="362" y="514"/>
                    <a:pt x="362" y="514"/>
                  </a:cubicBezTo>
                  <a:cubicBezTo>
                    <a:pt x="369" y="438"/>
                    <a:pt x="369" y="438"/>
                    <a:pt x="369" y="438"/>
                  </a:cubicBezTo>
                  <a:cubicBezTo>
                    <a:pt x="372" y="402"/>
                    <a:pt x="372" y="402"/>
                    <a:pt x="372" y="402"/>
                  </a:cubicBezTo>
                  <a:cubicBezTo>
                    <a:pt x="383" y="268"/>
                    <a:pt x="383" y="268"/>
                    <a:pt x="383" y="268"/>
                  </a:cubicBezTo>
                  <a:cubicBezTo>
                    <a:pt x="386" y="207"/>
                    <a:pt x="386" y="207"/>
                    <a:pt x="386" y="207"/>
                  </a:cubicBezTo>
                  <a:cubicBezTo>
                    <a:pt x="386" y="93"/>
                    <a:pt x="294" y="0"/>
                    <a:pt x="18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60" name="Freeform 38">
              <a:extLst>
                <a:ext uri="{FF2B5EF4-FFF2-40B4-BE49-F238E27FC236}">
                  <a16:creationId xmlns:a16="http://schemas.microsoft.com/office/drawing/2014/main" id="{B2509458-F3BB-9AC7-9DED-0BE541E756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8" y="2056"/>
              <a:ext cx="131" cy="201"/>
            </a:xfrm>
            <a:custGeom>
              <a:avLst/>
              <a:gdLst>
                <a:gd name="T0" fmla="*/ 272 w 405"/>
                <a:gd name="T1" fmla="*/ 622 h 622"/>
                <a:gd name="T2" fmla="*/ 287 w 405"/>
                <a:gd name="T3" fmla="*/ 547 h 622"/>
                <a:gd name="T4" fmla="*/ 336 w 405"/>
                <a:gd name="T5" fmla="*/ 503 h 622"/>
                <a:gd name="T6" fmla="*/ 355 w 405"/>
                <a:gd name="T7" fmla="*/ 274 h 622"/>
                <a:gd name="T8" fmla="*/ 359 w 405"/>
                <a:gd name="T9" fmla="*/ 214 h 622"/>
                <a:gd name="T10" fmla="*/ 191 w 405"/>
                <a:gd name="T11" fmla="*/ 47 h 622"/>
                <a:gd name="T12" fmla="*/ 167 w 405"/>
                <a:gd name="T13" fmla="*/ 47 h 622"/>
                <a:gd name="T14" fmla="*/ 41 w 405"/>
                <a:gd name="T15" fmla="*/ 106 h 622"/>
                <a:gd name="T16" fmla="*/ 36 w 405"/>
                <a:gd name="T17" fmla="*/ 113 h 622"/>
                <a:gd name="T18" fmla="*/ 0 w 405"/>
                <a:gd name="T19" fmla="*/ 83 h 622"/>
                <a:gd name="T20" fmla="*/ 5 w 405"/>
                <a:gd name="T21" fmla="*/ 76 h 622"/>
                <a:gd name="T22" fmla="*/ 167 w 405"/>
                <a:gd name="T23" fmla="*/ 0 h 622"/>
                <a:gd name="T24" fmla="*/ 191 w 405"/>
                <a:gd name="T25" fmla="*/ 0 h 622"/>
                <a:gd name="T26" fmla="*/ 405 w 405"/>
                <a:gd name="T27" fmla="*/ 215 h 622"/>
                <a:gd name="T28" fmla="*/ 402 w 405"/>
                <a:gd name="T29" fmla="*/ 277 h 622"/>
                <a:gd name="T30" fmla="*/ 381 w 405"/>
                <a:gd name="T31" fmla="*/ 526 h 622"/>
                <a:gd name="T32" fmla="*/ 272 w 405"/>
                <a:gd name="T33" fmla="*/ 622 h 622"/>
                <a:gd name="T34" fmla="*/ 302 w 405"/>
                <a:gd name="T35" fmla="*/ 555 h 622"/>
                <a:gd name="T36" fmla="*/ 297 w 405"/>
                <a:gd name="T37" fmla="*/ 578 h 622"/>
                <a:gd name="T38" fmla="*/ 366 w 405"/>
                <a:gd name="T39" fmla="*/ 518 h 622"/>
                <a:gd name="T40" fmla="*/ 385 w 405"/>
                <a:gd name="T41" fmla="*/ 276 h 622"/>
                <a:gd name="T42" fmla="*/ 389 w 405"/>
                <a:gd name="T43" fmla="*/ 215 h 622"/>
                <a:gd name="T44" fmla="*/ 191 w 405"/>
                <a:gd name="T45" fmla="*/ 16 h 622"/>
                <a:gd name="T46" fmla="*/ 167 w 405"/>
                <a:gd name="T47" fmla="*/ 16 h 622"/>
                <a:gd name="T48" fmla="*/ 23 w 405"/>
                <a:gd name="T49" fmla="*/ 81 h 622"/>
                <a:gd name="T50" fmla="*/ 34 w 405"/>
                <a:gd name="T51" fmla="*/ 90 h 622"/>
                <a:gd name="T52" fmla="*/ 167 w 405"/>
                <a:gd name="T53" fmla="*/ 30 h 622"/>
                <a:gd name="T54" fmla="*/ 191 w 405"/>
                <a:gd name="T55" fmla="*/ 30 h 622"/>
                <a:gd name="T56" fmla="*/ 375 w 405"/>
                <a:gd name="T57" fmla="*/ 214 h 622"/>
                <a:gd name="T58" fmla="*/ 371 w 405"/>
                <a:gd name="T59" fmla="*/ 275 h 622"/>
                <a:gd name="T60" fmla="*/ 352 w 405"/>
                <a:gd name="T61" fmla="*/ 511 h 622"/>
                <a:gd name="T62" fmla="*/ 302 w 405"/>
                <a:gd name="T63" fmla="*/ 555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05" h="622">
                  <a:moveTo>
                    <a:pt x="272" y="622"/>
                  </a:moveTo>
                  <a:cubicBezTo>
                    <a:pt x="287" y="547"/>
                    <a:pt x="287" y="547"/>
                    <a:pt x="287" y="547"/>
                  </a:cubicBezTo>
                  <a:cubicBezTo>
                    <a:pt x="336" y="503"/>
                    <a:pt x="336" y="503"/>
                    <a:pt x="336" y="503"/>
                  </a:cubicBezTo>
                  <a:cubicBezTo>
                    <a:pt x="355" y="274"/>
                    <a:pt x="355" y="274"/>
                    <a:pt x="355" y="274"/>
                  </a:cubicBezTo>
                  <a:cubicBezTo>
                    <a:pt x="359" y="214"/>
                    <a:pt x="359" y="214"/>
                    <a:pt x="359" y="214"/>
                  </a:cubicBezTo>
                  <a:cubicBezTo>
                    <a:pt x="359" y="122"/>
                    <a:pt x="283" y="47"/>
                    <a:pt x="191" y="47"/>
                  </a:cubicBezTo>
                  <a:cubicBezTo>
                    <a:pt x="167" y="47"/>
                    <a:pt x="167" y="47"/>
                    <a:pt x="167" y="47"/>
                  </a:cubicBezTo>
                  <a:cubicBezTo>
                    <a:pt x="118" y="47"/>
                    <a:pt x="72" y="68"/>
                    <a:pt x="41" y="106"/>
                  </a:cubicBezTo>
                  <a:cubicBezTo>
                    <a:pt x="36" y="113"/>
                    <a:pt x="36" y="113"/>
                    <a:pt x="36" y="11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45" y="28"/>
                    <a:pt x="104" y="0"/>
                    <a:pt x="167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309" y="0"/>
                    <a:pt x="405" y="96"/>
                    <a:pt x="405" y="215"/>
                  </a:cubicBezTo>
                  <a:cubicBezTo>
                    <a:pt x="402" y="277"/>
                    <a:pt x="402" y="277"/>
                    <a:pt x="402" y="277"/>
                  </a:cubicBezTo>
                  <a:cubicBezTo>
                    <a:pt x="381" y="526"/>
                    <a:pt x="381" y="526"/>
                    <a:pt x="381" y="526"/>
                  </a:cubicBezTo>
                  <a:lnTo>
                    <a:pt x="272" y="622"/>
                  </a:lnTo>
                  <a:close/>
                  <a:moveTo>
                    <a:pt x="302" y="555"/>
                  </a:moveTo>
                  <a:cubicBezTo>
                    <a:pt x="297" y="578"/>
                    <a:pt x="297" y="578"/>
                    <a:pt x="297" y="578"/>
                  </a:cubicBezTo>
                  <a:cubicBezTo>
                    <a:pt x="366" y="518"/>
                    <a:pt x="366" y="518"/>
                    <a:pt x="366" y="518"/>
                  </a:cubicBezTo>
                  <a:cubicBezTo>
                    <a:pt x="385" y="276"/>
                    <a:pt x="385" y="276"/>
                    <a:pt x="385" y="276"/>
                  </a:cubicBezTo>
                  <a:cubicBezTo>
                    <a:pt x="389" y="215"/>
                    <a:pt x="389" y="215"/>
                    <a:pt x="389" y="215"/>
                  </a:cubicBezTo>
                  <a:cubicBezTo>
                    <a:pt x="389" y="105"/>
                    <a:pt x="300" y="16"/>
                    <a:pt x="191" y="16"/>
                  </a:cubicBezTo>
                  <a:cubicBezTo>
                    <a:pt x="167" y="16"/>
                    <a:pt x="167" y="16"/>
                    <a:pt x="167" y="16"/>
                  </a:cubicBezTo>
                  <a:cubicBezTo>
                    <a:pt x="112" y="16"/>
                    <a:pt x="60" y="39"/>
                    <a:pt x="23" y="81"/>
                  </a:cubicBezTo>
                  <a:cubicBezTo>
                    <a:pt x="34" y="90"/>
                    <a:pt x="34" y="90"/>
                    <a:pt x="34" y="90"/>
                  </a:cubicBezTo>
                  <a:cubicBezTo>
                    <a:pt x="68" y="52"/>
                    <a:pt x="116" y="30"/>
                    <a:pt x="167" y="30"/>
                  </a:cubicBezTo>
                  <a:cubicBezTo>
                    <a:pt x="191" y="30"/>
                    <a:pt x="191" y="30"/>
                    <a:pt x="191" y="30"/>
                  </a:cubicBezTo>
                  <a:cubicBezTo>
                    <a:pt x="292" y="30"/>
                    <a:pt x="375" y="113"/>
                    <a:pt x="375" y="214"/>
                  </a:cubicBezTo>
                  <a:cubicBezTo>
                    <a:pt x="371" y="275"/>
                    <a:pt x="371" y="275"/>
                    <a:pt x="371" y="275"/>
                  </a:cubicBezTo>
                  <a:cubicBezTo>
                    <a:pt x="352" y="511"/>
                    <a:pt x="352" y="511"/>
                    <a:pt x="352" y="511"/>
                  </a:cubicBezTo>
                  <a:lnTo>
                    <a:pt x="302" y="5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61" name="Freeform 39">
              <a:extLst>
                <a:ext uri="{FF2B5EF4-FFF2-40B4-BE49-F238E27FC236}">
                  <a16:creationId xmlns:a16="http://schemas.microsoft.com/office/drawing/2014/main" id="{49D2B652-EA99-70ED-B441-69A4D1B4B1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" y="2221"/>
              <a:ext cx="0" cy="1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62" name="Freeform 40">
              <a:extLst>
                <a:ext uri="{FF2B5EF4-FFF2-40B4-BE49-F238E27FC236}">
                  <a16:creationId xmlns:a16="http://schemas.microsoft.com/office/drawing/2014/main" id="{58CE59EC-87F2-0013-B2F2-F00B67C01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" y="2222"/>
              <a:ext cx="2" cy="2"/>
            </a:xfrm>
            <a:custGeom>
              <a:avLst/>
              <a:gdLst>
                <a:gd name="T0" fmla="*/ 0 w 2"/>
                <a:gd name="T1" fmla="*/ 0 h 2"/>
                <a:gd name="T2" fmla="*/ 2 w 2"/>
                <a:gd name="T3" fmla="*/ 2 h 2"/>
                <a:gd name="T4" fmla="*/ 0 w 2"/>
                <a:gd name="T5" fmla="*/ 0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63" name="Freeform 41">
              <a:extLst>
                <a:ext uri="{FF2B5EF4-FFF2-40B4-BE49-F238E27FC236}">
                  <a16:creationId xmlns:a16="http://schemas.microsoft.com/office/drawing/2014/main" id="{ED7DB368-2A91-C2ED-414E-2B90DAF473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78" y="2215"/>
              <a:ext cx="2" cy="1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0 w 2"/>
                <a:gd name="T5" fmla="*/ 0 h 1"/>
                <a:gd name="T6" fmla="*/ 2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64" name="Freeform 42">
              <a:extLst>
                <a:ext uri="{FF2B5EF4-FFF2-40B4-BE49-F238E27FC236}">
                  <a16:creationId xmlns:a16="http://schemas.microsoft.com/office/drawing/2014/main" id="{28930870-C8D1-8B0F-8FEA-1AFAEF7780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9" y="2205"/>
              <a:ext cx="30" cy="121"/>
            </a:xfrm>
            <a:custGeom>
              <a:avLst/>
              <a:gdLst>
                <a:gd name="T0" fmla="*/ 63 w 92"/>
                <a:gd name="T1" fmla="*/ 0 h 375"/>
                <a:gd name="T2" fmla="*/ 62 w 92"/>
                <a:gd name="T3" fmla="*/ 0 h 375"/>
                <a:gd name="T4" fmla="*/ 61 w 92"/>
                <a:gd name="T5" fmla="*/ 1 h 375"/>
                <a:gd name="T6" fmla="*/ 49 w 92"/>
                <a:gd name="T7" fmla="*/ 65 h 375"/>
                <a:gd name="T8" fmla="*/ 0 w 92"/>
                <a:gd name="T9" fmla="*/ 314 h 375"/>
                <a:gd name="T10" fmla="*/ 18 w 92"/>
                <a:gd name="T11" fmla="*/ 375 h 375"/>
                <a:gd name="T12" fmla="*/ 64 w 92"/>
                <a:gd name="T13" fmla="*/ 138 h 375"/>
                <a:gd name="T14" fmla="*/ 59 w 92"/>
                <a:gd name="T15" fmla="*/ 143 h 375"/>
                <a:gd name="T16" fmla="*/ 39 w 92"/>
                <a:gd name="T17" fmla="*/ 120 h 375"/>
                <a:gd name="T18" fmla="*/ 74 w 92"/>
                <a:gd name="T19" fmla="*/ 89 h 375"/>
                <a:gd name="T20" fmla="*/ 76 w 92"/>
                <a:gd name="T21" fmla="*/ 80 h 375"/>
                <a:gd name="T22" fmla="*/ 78 w 92"/>
                <a:gd name="T23" fmla="*/ 68 h 375"/>
                <a:gd name="T24" fmla="*/ 87 w 92"/>
                <a:gd name="T25" fmla="*/ 22 h 375"/>
                <a:gd name="T26" fmla="*/ 92 w 92"/>
                <a:gd name="T27" fmla="*/ 0 h 375"/>
                <a:gd name="T28" fmla="*/ 63 w 92"/>
                <a:gd name="T29" fmla="*/ 0 h 375"/>
                <a:gd name="T30" fmla="*/ 60 w 92"/>
                <a:gd name="T31" fmla="*/ 29 h 375"/>
                <a:gd name="T32" fmla="*/ 60 w 92"/>
                <a:gd name="T33" fmla="*/ 29 h 375"/>
                <a:gd name="T34" fmla="*/ 65 w 92"/>
                <a:gd name="T35" fmla="*/ 32 h 375"/>
                <a:gd name="T36" fmla="*/ 60 w 92"/>
                <a:gd name="T37" fmla="*/ 29 h 375"/>
                <a:gd name="T38" fmla="*/ 69 w 92"/>
                <a:gd name="T39" fmla="*/ 51 h 375"/>
                <a:gd name="T40" fmla="*/ 69 w 92"/>
                <a:gd name="T41" fmla="*/ 51 h 375"/>
                <a:gd name="T42" fmla="*/ 74 w 92"/>
                <a:gd name="T43" fmla="*/ 59 h 375"/>
                <a:gd name="T44" fmla="*/ 69 w 92"/>
                <a:gd name="T45" fmla="*/ 51 h 375"/>
                <a:gd name="T46" fmla="*/ 76 w 92"/>
                <a:gd name="T47" fmla="*/ 52 h 375"/>
                <a:gd name="T48" fmla="*/ 76 w 92"/>
                <a:gd name="T49" fmla="*/ 52 h 375"/>
                <a:gd name="T50" fmla="*/ 77 w 92"/>
                <a:gd name="T51" fmla="*/ 50 h 375"/>
                <a:gd name="T52" fmla="*/ 77 w 92"/>
                <a:gd name="T53" fmla="*/ 50 h 375"/>
                <a:gd name="T54" fmla="*/ 76 w 92"/>
                <a:gd name="T55" fmla="*/ 52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" h="375">
                  <a:moveTo>
                    <a:pt x="63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49" y="65"/>
                    <a:pt x="49" y="65"/>
                    <a:pt x="49" y="65"/>
                  </a:cubicBezTo>
                  <a:cubicBezTo>
                    <a:pt x="0" y="314"/>
                    <a:pt x="0" y="314"/>
                    <a:pt x="0" y="314"/>
                  </a:cubicBezTo>
                  <a:cubicBezTo>
                    <a:pt x="7" y="334"/>
                    <a:pt x="13" y="354"/>
                    <a:pt x="18" y="375"/>
                  </a:cubicBezTo>
                  <a:cubicBezTo>
                    <a:pt x="64" y="138"/>
                    <a:pt x="64" y="138"/>
                    <a:pt x="64" y="138"/>
                  </a:cubicBezTo>
                  <a:cubicBezTo>
                    <a:pt x="59" y="143"/>
                    <a:pt x="59" y="143"/>
                    <a:pt x="59" y="143"/>
                  </a:cubicBezTo>
                  <a:cubicBezTo>
                    <a:pt x="39" y="120"/>
                    <a:pt x="39" y="120"/>
                    <a:pt x="39" y="120"/>
                  </a:cubicBezTo>
                  <a:cubicBezTo>
                    <a:pt x="74" y="89"/>
                    <a:pt x="74" y="89"/>
                    <a:pt x="74" y="89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87" y="22"/>
                    <a:pt x="87" y="22"/>
                    <a:pt x="87" y="22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63" y="0"/>
                  </a:lnTo>
                  <a:close/>
                  <a:moveTo>
                    <a:pt x="60" y="29"/>
                  </a:moveTo>
                  <a:cubicBezTo>
                    <a:pt x="60" y="29"/>
                    <a:pt x="60" y="29"/>
                    <a:pt x="60" y="29"/>
                  </a:cubicBezTo>
                  <a:cubicBezTo>
                    <a:pt x="65" y="32"/>
                    <a:pt x="65" y="32"/>
                    <a:pt x="65" y="32"/>
                  </a:cubicBezTo>
                  <a:lnTo>
                    <a:pt x="60" y="29"/>
                  </a:lnTo>
                  <a:close/>
                  <a:moveTo>
                    <a:pt x="69" y="51"/>
                  </a:moveTo>
                  <a:cubicBezTo>
                    <a:pt x="69" y="51"/>
                    <a:pt x="69" y="51"/>
                    <a:pt x="69" y="51"/>
                  </a:cubicBezTo>
                  <a:cubicBezTo>
                    <a:pt x="74" y="59"/>
                    <a:pt x="74" y="59"/>
                    <a:pt x="74" y="59"/>
                  </a:cubicBezTo>
                  <a:lnTo>
                    <a:pt x="69" y="51"/>
                  </a:lnTo>
                  <a:close/>
                  <a:moveTo>
                    <a:pt x="76" y="52"/>
                  </a:moveTo>
                  <a:cubicBezTo>
                    <a:pt x="76" y="52"/>
                    <a:pt x="76" y="52"/>
                    <a:pt x="76" y="52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77" y="50"/>
                    <a:pt x="77" y="50"/>
                    <a:pt x="77" y="50"/>
                  </a:cubicBezTo>
                  <a:lnTo>
                    <a:pt x="76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65" name="Freeform 43">
              <a:extLst>
                <a:ext uri="{FF2B5EF4-FFF2-40B4-BE49-F238E27FC236}">
                  <a16:creationId xmlns:a16="http://schemas.microsoft.com/office/drawing/2014/main" id="{EB46FBD2-23AA-7EA8-D035-F6F9B6A302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6" y="2203"/>
              <a:ext cx="36" cy="136"/>
            </a:xfrm>
            <a:custGeom>
              <a:avLst/>
              <a:gdLst>
                <a:gd name="T0" fmla="*/ 39 w 111"/>
                <a:gd name="T1" fmla="*/ 124 h 422"/>
                <a:gd name="T2" fmla="*/ 64 w 111"/>
                <a:gd name="T3" fmla="*/ 1 h 422"/>
                <a:gd name="T4" fmla="*/ 72 w 111"/>
                <a:gd name="T5" fmla="*/ 0 h 422"/>
                <a:gd name="T6" fmla="*/ 111 w 111"/>
                <a:gd name="T7" fmla="*/ 0 h 422"/>
                <a:gd name="T8" fmla="*/ 91 w 111"/>
                <a:gd name="T9" fmla="*/ 101 h 422"/>
                <a:gd name="T10" fmla="*/ 59 w 111"/>
                <a:gd name="T11" fmla="*/ 129 h 422"/>
                <a:gd name="T12" fmla="*/ 69 w 111"/>
                <a:gd name="T13" fmla="*/ 139 h 422"/>
                <a:gd name="T14" fmla="*/ 86 w 111"/>
                <a:gd name="T15" fmla="*/ 124 h 422"/>
                <a:gd name="T16" fmla="*/ 27 w 111"/>
                <a:gd name="T17" fmla="*/ 422 h 422"/>
                <a:gd name="T18" fmla="*/ 19 w 111"/>
                <a:gd name="T19" fmla="*/ 385 h 422"/>
                <a:gd name="T20" fmla="*/ 1 w 111"/>
                <a:gd name="T21" fmla="*/ 325 h 422"/>
                <a:gd name="T22" fmla="*/ 0 w 111"/>
                <a:gd name="T23" fmla="*/ 323 h 422"/>
                <a:gd name="T24" fmla="*/ 38 w 111"/>
                <a:gd name="T25" fmla="*/ 129 h 422"/>
                <a:gd name="T26" fmla="*/ 17 w 111"/>
                <a:gd name="T27" fmla="*/ 321 h 422"/>
                <a:gd name="T28" fmla="*/ 25 w 111"/>
                <a:gd name="T29" fmla="*/ 347 h 422"/>
                <a:gd name="T30" fmla="*/ 63 w 111"/>
                <a:gd name="T31" fmla="*/ 157 h 422"/>
                <a:gd name="T32" fmla="*/ 52 w 111"/>
                <a:gd name="T33" fmla="*/ 145 h 422"/>
                <a:gd name="T34" fmla="*/ 17 w 111"/>
                <a:gd name="T35" fmla="*/ 321 h 422"/>
                <a:gd name="T36" fmla="*/ 72 w 111"/>
                <a:gd name="T37" fmla="*/ 45 h 422"/>
                <a:gd name="T38" fmla="*/ 60 w 111"/>
                <a:gd name="T39" fmla="*/ 107 h 422"/>
                <a:gd name="T40" fmla="*/ 76 w 111"/>
                <a:gd name="T41" fmla="*/ 93 h 422"/>
                <a:gd name="T42" fmla="*/ 80 w 111"/>
                <a:gd name="T43" fmla="*/ 69 h 422"/>
                <a:gd name="T44" fmla="*/ 75 w 111"/>
                <a:gd name="T45" fmla="*/ 71 h 422"/>
                <a:gd name="T46" fmla="*/ 71 w 111"/>
                <a:gd name="T47" fmla="*/ 63 h 422"/>
                <a:gd name="T48" fmla="*/ 81 w 111"/>
                <a:gd name="T49" fmla="*/ 57 h 422"/>
                <a:gd name="T50" fmla="*/ 78 w 111"/>
                <a:gd name="T51" fmla="*/ 56 h 422"/>
                <a:gd name="T52" fmla="*/ 83 w 111"/>
                <a:gd name="T53" fmla="*/ 48 h 422"/>
                <a:gd name="T54" fmla="*/ 84 w 111"/>
                <a:gd name="T55" fmla="*/ 48 h 422"/>
                <a:gd name="T56" fmla="*/ 91 w 111"/>
                <a:gd name="T57" fmla="*/ 16 h 422"/>
                <a:gd name="T58" fmla="*/ 77 w 111"/>
                <a:gd name="T59" fmla="*/ 16 h 422"/>
                <a:gd name="T60" fmla="*/ 75 w 111"/>
                <a:gd name="T61" fmla="*/ 31 h 422"/>
                <a:gd name="T62" fmla="*/ 78 w 111"/>
                <a:gd name="T63" fmla="*/ 33 h 422"/>
                <a:gd name="T64" fmla="*/ 72 w 111"/>
                <a:gd name="T65" fmla="*/ 45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1" h="422">
                  <a:moveTo>
                    <a:pt x="39" y="124"/>
                  </a:moveTo>
                  <a:cubicBezTo>
                    <a:pt x="64" y="1"/>
                    <a:pt x="64" y="1"/>
                    <a:pt x="64" y="1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1" y="101"/>
                    <a:pt x="91" y="101"/>
                    <a:pt x="91" y="101"/>
                  </a:cubicBezTo>
                  <a:cubicBezTo>
                    <a:pt x="59" y="129"/>
                    <a:pt x="59" y="129"/>
                    <a:pt x="59" y="129"/>
                  </a:cubicBezTo>
                  <a:cubicBezTo>
                    <a:pt x="69" y="139"/>
                    <a:pt x="69" y="139"/>
                    <a:pt x="69" y="139"/>
                  </a:cubicBezTo>
                  <a:cubicBezTo>
                    <a:pt x="86" y="124"/>
                    <a:pt x="86" y="124"/>
                    <a:pt x="86" y="124"/>
                  </a:cubicBezTo>
                  <a:cubicBezTo>
                    <a:pt x="27" y="422"/>
                    <a:pt x="27" y="422"/>
                    <a:pt x="27" y="422"/>
                  </a:cubicBezTo>
                  <a:cubicBezTo>
                    <a:pt x="19" y="385"/>
                    <a:pt x="19" y="385"/>
                    <a:pt x="19" y="385"/>
                  </a:cubicBezTo>
                  <a:cubicBezTo>
                    <a:pt x="14" y="364"/>
                    <a:pt x="8" y="344"/>
                    <a:pt x="1" y="325"/>
                  </a:cubicBezTo>
                  <a:cubicBezTo>
                    <a:pt x="0" y="323"/>
                    <a:pt x="0" y="323"/>
                    <a:pt x="0" y="323"/>
                  </a:cubicBezTo>
                  <a:cubicBezTo>
                    <a:pt x="38" y="129"/>
                    <a:pt x="38" y="129"/>
                    <a:pt x="38" y="129"/>
                  </a:cubicBezTo>
                  <a:moveTo>
                    <a:pt x="17" y="321"/>
                  </a:moveTo>
                  <a:cubicBezTo>
                    <a:pt x="20" y="330"/>
                    <a:pt x="23" y="338"/>
                    <a:pt x="25" y="347"/>
                  </a:cubicBezTo>
                  <a:cubicBezTo>
                    <a:pt x="63" y="157"/>
                    <a:pt x="63" y="157"/>
                    <a:pt x="63" y="157"/>
                  </a:cubicBezTo>
                  <a:cubicBezTo>
                    <a:pt x="52" y="145"/>
                    <a:pt x="52" y="145"/>
                    <a:pt x="52" y="145"/>
                  </a:cubicBezTo>
                  <a:lnTo>
                    <a:pt x="17" y="321"/>
                  </a:lnTo>
                  <a:close/>
                  <a:moveTo>
                    <a:pt x="72" y="45"/>
                  </a:moveTo>
                  <a:cubicBezTo>
                    <a:pt x="60" y="107"/>
                    <a:pt x="60" y="107"/>
                    <a:pt x="60" y="107"/>
                  </a:cubicBezTo>
                  <a:cubicBezTo>
                    <a:pt x="76" y="93"/>
                    <a:pt x="76" y="93"/>
                    <a:pt x="76" y="93"/>
                  </a:cubicBezTo>
                  <a:cubicBezTo>
                    <a:pt x="80" y="69"/>
                    <a:pt x="80" y="69"/>
                    <a:pt x="80" y="69"/>
                  </a:cubicBezTo>
                  <a:cubicBezTo>
                    <a:pt x="75" y="71"/>
                    <a:pt x="75" y="71"/>
                    <a:pt x="75" y="71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77" y="16"/>
                    <a:pt x="77" y="16"/>
                    <a:pt x="77" y="16"/>
                  </a:cubicBezTo>
                  <a:cubicBezTo>
                    <a:pt x="75" y="31"/>
                    <a:pt x="75" y="31"/>
                    <a:pt x="75" y="31"/>
                  </a:cubicBezTo>
                  <a:cubicBezTo>
                    <a:pt x="78" y="33"/>
                    <a:pt x="78" y="33"/>
                    <a:pt x="78" y="33"/>
                  </a:cubicBezTo>
                  <a:lnTo>
                    <a:pt x="72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66" name="Freeform 44">
              <a:extLst>
                <a:ext uri="{FF2B5EF4-FFF2-40B4-BE49-F238E27FC236}">
                  <a16:creationId xmlns:a16="http://schemas.microsoft.com/office/drawing/2014/main" id="{A98D08D7-6A48-7DAD-494F-FFA8C96ADE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" y="2221"/>
              <a:ext cx="0" cy="1"/>
            </a:xfrm>
            <a:custGeom>
              <a:avLst/>
              <a:gdLst>
                <a:gd name="T0" fmla="*/ 1 h 1"/>
                <a:gd name="T1" fmla="*/ 1 h 1"/>
                <a:gd name="T2" fmla="*/ 0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67" name="Freeform 45">
              <a:extLst>
                <a:ext uri="{FF2B5EF4-FFF2-40B4-BE49-F238E27FC236}">
                  <a16:creationId xmlns:a16="http://schemas.microsoft.com/office/drawing/2014/main" id="{996E1CEE-6DB4-4B49-C5D7-72C5C9CD88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" y="1923"/>
              <a:ext cx="127" cy="108"/>
            </a:xfrm>
            <a:custGeom>
              <a:avLst/>
              <a:gdLst>
                <a:gd name="T0" fmla="*/ 195 w 390"/>
                <a:gd name="T1" fmla="*/ 335 h 335"/>
                <a:gd name="T2" fmla="*/ 194 w 390"/>
                <a:gd name="T3" fmla="*/ 335 h 335"/>
                <a:gd name="T4" fmla="*/ 15 w 390"/>
                <a:gd name="T5" fmla="*/ 287 h 335"/>
                <a:gd name="T6" fmla="*/ 0 w 390"/>
                <a:gd name="T7" fmla="*/ 277 h 335"/>
                <a:gd name="T8" fmla="*/ 13 w 390"/>
                <a:gd name="T9" fmla="*/ 264 h 335"/>
                <a:gd name="T10" fmla="*/ 39 w 390"/>
                <a:gd name="T11" fmla="*/ 155 h 335"/>
                <a:gd name="T12" fmla="*/ 194 w 390"/>
                <a:gd name="T13" fmla="*/ 0 h 335"/>
                <a:gd name="T14" fmla="*/ 196 w 390"/>
                <a:gd name="T15" fmla="*/ 0 h 335"/>
                <a:gd name="T16" fmla="*/ 351 w 390"/>
                <a:gd name="T17" fmla="*/ 155 h 335"/>
                <a:gd name="T18" fmla="*/ 377 w 390"/>
                <a:gd name="T19" fmla="*/ 264 h 335"/>
                <a:gd name="T20" fmla="*/ 390 w 390"/>
                <a:gd name="T21" fmla="*/ 277 h 335"/>
                <a:gd name="T22" fmla="*/ 375 w 390"/>
                <a:gd name="T23" fmla="*/ 287 h 335"/>
                <a:gd name="T24" fmla="*/ 195 w 390"/>
                <a:gd name="T25" fmla="*/ 335 h 335"/>
                <a:gd name="T26" fmla="*/ 45 w 390"/>
                <a:gd name="T27" fmla="*/ 270 h 335"/>
                <a:gd name="T28" fmla="*/ 194 w 390"/>
                <a:gd name="T29" fmla="*/ 305 h 335"/>
                <a:gd name="T30" fmla="*/ 195 w 390"/>
                <a:gd name="T31" fmla="*/ 305 h 335"/>
                <a:gd name="T32" fmla="*/ 344 w 390"/>
                <a:gd name="T33" fmla="*/ 270 h 335"/>
                <a:gd name="T34" fmla="*/ 321 w 390"/>
                <a:gd name="T35" fmla="*/ 155 h 335"/>
                <a:gd name="T36" fmla="*/ 196 w 390"/>
                <a:gd name="T37" fmla="*/ 30 h 335"/>
                <a:gd name="T38" fmla="*/ 194 w 390"/>
                <a:gd name="T39" fmla="*/ 30 h 335"/>
                <a:gd name="T40" fmla="*/ 68 w 390"/>
                <a:gd name="T41" fmla="*/ 155 h 335"/>
                <a:gd name="T42" fmla="*/ 45 w 390"/>
                <a:gd name="T43" fmla="*/ 270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90" h="335">
                  <a:moveTo>
                    <a:pt x="195" y="335"/>
                  </a:moveTo>
                  <a:cubicBezTo>
                    <a:pt x="194" y="335"/>
                    <a:pt x="194" y="335"/>
                    <a:pt x="194" y="335"/>
                  </a:cubicBezTo>
                  <a:cubicBezTo>
                    <a:pt x="88" y="335"/>
                    <a:pt x="18" y="289"/>
                    <a:pt x="15" y="287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13" y="264"/>
                    <a:pt x="13" y="264"/>
                    <a:pt x="13" y="264"/>
                  </a:cubicBezTo>
                  <a:cubicBezTo>
                    <a:pt x="35" y="242"/>
                    <a:pt x="39" y="178"/>
                    <a:pt x="39" y="155"/>
                  </a:cubicBezTo>
                  <a:cubicBezTo>
                    <a:pt x="39" y="69"/>
                    <a:pt x="108" y="0"/>
                    <a:pt x="194" y="0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281" y="0"/>
                    <a:pt x="351" y="69"/>
                    <a:pt x="351" y="155"/>
                  </a:cubicBezTo>
                  <a:cubicBezTo>
                    <a:pt x="351" y="178"/>
                    <a:pt x="355" y="242"/>
                    <a:pt x="377" y="264"/>
                  </a:cubicBezTo>
                  <a:cubicBezTo>
                    <a:pt x="390" y="277"/>
                    <a:pt x="390" y="277"/>
                    <a:pt x="390" y="277"/>
                  </a:cubicBezTo>
                  <a:cubicBezTo>
                    <a:pt x="375" y="287"/>
                    <a:pt x="375" y="287"/>
                    <a:pt x="375" y="287"/>
                  </a:cubicBezTo>
                  <a:cubicBezTo>
                    <a:pt x="372" y="289"/>
                    <a:pt x="301" y="335"/>
                    <a:pt x="195" y="335"/>
                  </a:cubicBezTo>
                  <a:close/>
                  <a:moveTo>
                    <a:pt x="45" y="270"/>
                  </a:moveTo>
                  <a:cubicBezTo>
                    <a:pt x="69" y="282"/>
                    <a:pt x="123" y="305"/>
                    <a:pt x="194" y="305"/>
                  </a:cubicBezTo>
                  <a:cubicBezTo>
                    <a:pt x="195" y="305"/>
                    <a:pt x="195" y="305"/>
                    <a:pt x="195" y="305"/>
                  </a:cubicBezTo>
                  <a:cubicBezTo>
                    <a:pt x="266" y="305"/>
                    <a:pt x="320" y="282"/>
                    <a:pt x="344" y="270"/>
                  </a:cubicBezTo>
                  <a:cubicBezTo>
                    <a:pt x="321" y="230"/>
                    <a:pt x="321" y="163"/>
                    <a:pt x="321" y="155"/>
                  </a:cubicBezTo>
                  <a:cubicBezTo>
                    <a:pt x="321" y="86"/>
                    <a:pt x="265" y="30"/>
                    <a:pt x="196" y="30"/>
                  </a:cubicBezTo>
                  <a:cubicBezTo>
                    <a:pt x="194" y="30"/>
                    <a:pt x="194" y="30"/>
                    <a:pt x="194" y="30"/>
                  </a:cubicBezTo>
                  <a:cubicBezTo>
                    <a:pt x="125" y="30"/>
                    <a:pt x="68" y="86"/>
                    <a:pt x="68" y="155"/>
                  </a:cubicBezTo>
                  <a:cubicBezTo>
                    <a:pt x="69" y="163"/>
                    <a:pt x="69" y="230"/>
                    <a:pt x="45" y="2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68" name="Freeform 46">
              <a:extLst>
                <a:ext uri="{FF2B5EF4-FFF2-40B4-BE49-F238E27FC236}">
                  <a16:creationId xmlns:a16="http://schemas.microsoft.com/office/drawing/2014/main" id="{AE3094E0-BF26-D7BF-E75C-424F4A82D5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2" y="1920"/>
              <a:ext cx="135" cy="113"/>
            </a:xfrm>
            <a:custGeom>
              <a:avLst/>
              <a:gdLst>
                <a:gd name="T0" fmla="*/ 208 w 416"/>
                <a:gd name="T1" fmla="*/ 352 h 352"/>
                <a:gd name="T2" fmla="*/ 207 w 416"/>
                <a:gd name="T3" fmla="*/ 352 h 352"/>
                <a:gd name="T4" fmla="*/ 23 w 416"/>
                <a:gd name="T5" fmla="*/ 303 h 352"/>
                <a:gd name="T6" fmla="*/ 0 w 416"/>
                <a:gd name="T7" fmla="*/ 287 h 352"/>
                <a:gd name="T8" fmla="*/ 20 w 416"/>
                <a:gd name="T9" fmla="*/ 267 h 352"/>
                <a:gd name="T10" fmla="*/ 43 w 416"/>
                <a:gd name="T11" fmla="*/ 164 h 352"/>
                <a:gd name="T12" fmla="*/ 207 w 416"/>
                <a:gd name="T13" fmla="*/ 0 h 352"/>
                <a:gd name="T14" fmla="*/ 209 w 416"/>
                <a:gd name="T15" fmla="*/ 0 h 352"/>
                <a:gd name="T16" fmla="*/ 372 w 416"/>
                <a:gd name="T17" fmla="*/ 164 h 352"/>
                <a:gd name="T18" fmla="*/ 396 w 416"/>
                <a:gd name="T19" fmla="*/ 267 h 352"/>
                <a:gd name="T20" fmla="*/ 416 w 416"/>
                <a:gd name="T21" fmla="*/ 287 h 352"/>
                <a:gd name="T22" fmla="*/ 392 w 416"/>
                <a:gd name="T23" fmla="*/ 303 h 352"/>
                <a:gd name="T24" fmla="*/ 208 w 416"/>
                <a:gd name="T25" fmla="*/ 352 h 352"/>
                <a:gd name="T26" fmla="*/ 26 w 416"/>
                <a:gd name="T27" fmla="*/ 285 h 352"/>
                <a:gd name="T28" fmla="*/ 32 w 416"/>
                <a:gd name="T29" fmla="*/ 289 h 352"/>
                <a:gd name="T30" fmla="*/ 207 w 416"/>
                <a:gd name="T31" fmla="*/ 336 h 352"/>
                <a:gd name="T32" fmla="*/ 208 w 416"/>
                <a:gd name="T33" fmla="*/ 336 h 352"/>
                <a:gd name="T34" fmla="*/ 383 w 416"/>
                <a:gd name="T35" fmla="*/ 289 h 352"/>
                <a:gd name="T36" fmla="*/ 390 w 416"/>
                <a:gd name="T37" fmla="*/ 285 h 352"/>
                <a:gd name="T38" fmla="*/ 384 w 416"/>
                <a:gd name="T39" fmla="*/ 279 h 352"/>
                <a:gd name="T40" fmla="*/ 356 w 416"/>
                <a:gd name="T41" fmla="*/ 164 h 352"/>
                <a:gd name="T42" fmla="*/ 209 w 416"/>
                <a:gd name="T43" fmla="*/ 17 h 352"/>
                <a:gd name="T44" fmla="*/ 207 w 416"/>
                <a:gd name="T45" fmla="*/ 17 h 352"/>
                <a:gd name="T46" fmla="*/ 60 w 416"/>
                <a:gd name="T47" fmla="*/ 164 h 352"/>
                <a:gd name="T48" fmla="*/ 31 w 416"/>
                <a:gd name="T49" fmla="*/ 279 h 352"/>
                <a:gd name="T50" fmla="*/ 26 w 416"/>
                <a:gd name="T51" fmla="*/ 285 h 352"/>
                <a:gd name="T52" fmla="*/ 208 w 416"/>
                <a:gd name="T53" fmla="*/ 322 h 352"/>
                <a:gd name="T54" fmla="*/ 54 w 416"/>
                <a:gd name="T55" fmla="*/ 286 h 352"/>
                <a:gd name="T56" fmla="*/ 47 w 416"/>
                <a:gd name="T57" fmla="*/ 282 h 352"/>
                <a:gd name="T58" fmla="*/ 51 w 416"/>
                <a:gd name="T59" fmla="*/ 275 h 352"/>
                <a:gd name="T60" fmla="*/ 73 w 416"/>
                <a:gd name="T61" fmla="*/ 164 h 352"/>
                <a:gd name="T62" fmla="*/ 207 w 416"/>
                <a:gd name="T63" fmla="*/ 30 h 352"/>
                <a:gd name="T64" fmla="*/ 209 w 416"/>
                <a:gd name="T65" fmla="*/ 30 h 352"/>
                <a:gd name="T66" fmla="*/ 342 w 416"/>
                <a:gd name="T67" fmla="*/ 164 h 352"/>
                <a:gd name="T68" fmla="*/ 364 w 416"/>
                <a:gd name="T69" fmla="*/ 275 h 352"/>
                <a:gd name="T70" fmla="*/ 369 w 416"/>
                <a:gd name="T71" fmla="*/ 282 h 352"/>
                <a:gd name="T72" fmla="*/ 361 w 416"/>
                <a:gd name="T73" fmla="*/ 286 h 352"/>
                <a:gd name="T74" fmla="*/ 208 w 416"/>
                <a:gd name="T75" fmla="*/ 322 h 352"/>
                <a:gd name="T76" fmla="*/ 70 w 416"/>
                <a:gd name="T77" fmla="*/ 275 h 352"/>
                <a:gd name="T78" fmla="*/ 207 w 416"/>
                <a:gd name="T79" fmla="*/ 306 h 352"/>
                <a:gd name="T80" fmla="*/ 346 w 416"/>
                <a:gd name="T81" fmla="*/ 275 h 352"/>
                <a:gd name="T82" fmla="*/ 326 w 416"/>
                <a:gd name="T83" fmla="*/ 163 h 352"/>
                <a:gd name="T84" fmla="*/ 209 w 416"/>
                <a:gd name="T85" fmla="*/ 47 h 352"/>
                <a:gd name="T86" fmla="*/ 207 w 416"/>
                <a:gd name="T87" fmla="*/ 47 h 352"/>
                <a:gd name="T88" fmla="*/ 90 w 416"/>
                <a:gd name="T89" fmla="*/ 164 h 352"/>
                <a:gd name="T90" fmla="*/ 70 w 416"/>
                <a:gd name="T91" fmla="*/ 275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16" h="352">
                  <a:moveTo>
                    <a:pt x="208" y="352"/>
                  </a:moveTo>
                  <a:cubicBezTo>
                    <a:pt x="207" y="352"/>
                    <a:pt x="207" y="352"/>
                    <a:pt x="207" y="352"/>
                  </a:cubicBezTo>
                  <a:cubicBezTo>
                    <a:pt x="99" y="352"/>
                    <a:pt x="26" y="305"/>
                    <a:pt x="23" y="303"/>
                  </a:cubicBezTo>
                  <a:cubicBezTo>
                    <a:pt x="0" y="287"/>
                    <a:pt x="0" y="287"/>
                    <a:pt x="0" y="287"/>
                  </a:cubicBezTo>
                  <a:cubicBezTo>
                    <a:pt x="20" y="267"/>
                    <a:pt x="20" y="267"/>
                    <a:pt x="20" y="267"/>
                  </a:cubicBezTo>
                  <a:cubicBezTo>
                    <a:pt x="37" y="249"/>
                    <a:pt x="44" y="194"/>
                    <a:pt x="43" y="164"/>
                  </a:cubicBezTo>
                  <a:cubicBezTo>
                    <a:pt x="43" y="74"/>
                    <a:pt x="117" y="0"/>
                    <a:pt x="207" y="0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99" y="0"/>
                    <a:pt x="372" y="74"/>
                    <a:pt x="372" y="164"/>
                  </a:cubicBezTo>
                  <a:cubicBezTo>
                    <a:pt x="372" y="194"/>
                    <a:pt x="378" y="249"/>
                    <a:pt x="396" y="267"/>
                  </a:cubicBezTo>
                  <a:cubicBezTo>
                    <a:pt x="416" y="287"/>
                    <a:pt x="416" y="287"/>
                    <a:pt x="416" y="287"/>
                  </a:cubicBezTo>
                  <a:cubicBezTo>
                    <a:pt x="392" y="303"/>
                    <a:pt x="392" y="303"/>
                    <a:pt x="392" y="303"/>
                  </a:cubicBezTo>
                  <a:cubicBezTo>
                    <a:pt x="389" y="305"/>
                    <a:pt x="317" y="352"/>
                    <a:pt x="208" y="352"/>
                  </a:cubicBezTo>
                  <a:close/>
                  <a:moveTo>
                    <a:pt x="26" y="285"/>
                  </a:moveTo>
                  <a:cubicBezTo>
                    <a:pt x="32" y="289"/>
                    <a:pt x="32" y="289"/>
                    <a:pt x="32" y="289"/>
                  </a:cubicBezTo>
                  <a:cubicBezTo>
                    <a:pt x="35" y="291"/>
                    <a:pt x="104" y="336"/>
                    <a:pt x="207" y="336"/>
                  </a:cubicBezTo>
                  <a:cubicBezTo>
                    <a:pt x="208" y="336"/>
                    <a:pt x="208" y="336"/>
                    <a:pt x="208" y="336"/>
                  </a:cubicBezTo>
                  <a:cubicBezTo>
                    <a:pt x="312" y="336"/>
                    <a:pt x="380" y="291"/>
                    <a:pt x="383" y="289"/>
                  </a:cubicBezTo>
                  <a:cubicBezTo>
                    <a:pt x="390" y="285"/>
                    <a:pt x="390" y="285"/>
                    <a:pt x="390" y="285"/>
                  </a:cubicBezTo>
                  <a:cubicBezTo>
                    <a:pt x="384" y="279"/>
                    <a:pt x="384" y="279"/>
                    <a:pt x="384" y="279"/>
                  </a:cubicBezTo>
                  <a:cubicBezTo>
                    <a:pt x="355" y="250"/>
                    <a:pt x="356" y="164"/>
                    <a:pt x="356" y="164"/>
                  </a:cubicBezTo>
                  <a:cubicBezTo>
                    <a:pt x="356" y="83"/>
                    <a:pt x="290" y="17"/>
                    <a:pt x="209" y="17"/>
                  </a:cubicBezTo>
                  <a:cubicBezTo>
                    <a:pt x="207" y="17"/>
                    <a:pt x="207" y="17"/>
                    <a:pt x="207" y="17"/>
                  </a:cubicBezTo>
                  <a:cubicBezTo>
                    <a:pt x="126" y="17"/>
                    <a:pt x="60" y="83"/>
                    <a:pt x="60" y="164"/>
                  </a:cubicBezTo>
                  <a:cubicBezTo>
                    <a:pt x="60" y="165"/>
                    <a:pt x="60" y="250"/>
                    <a:pt x="31" y="279"/>
                  </a:cubicBezTo>
                  <a:lnTo>
                    <a:pt x="26" y="285"/>
                  </a:lnTo>
                  <a:close/>
                  <a:moveTo>
                    <a:pt x="208" y="322"/>
                  </a:moveTo>
                  <a:cubicBezTo>
                    <a:pt x="136" y="322"/>
                    <a:pt x="81" y="300"/>
                    <a:pt x="54" y="286"/>
                  </a:cubicBezTo>
                  <a:cubicBezTo>
                    <a:pt x="47" y="282"/>
                    <a:pt x="47" y="282"/>
                    <a:pt x="47" y="282"/>
                  </a:cubicBezTo>
                  <a:cubicBezTo>
                    <a:pt x="51" y="275"/>
                    <a:pt x="51" y="275"/>
                    <a:pt x="51" y="275"/>
                  </a:cubicBezTo>
                  <a:cubicBezTo>
                    <a:pt x="73" y="237"/>
                    <a:pt x="73" y="171"/>
                    <a:pt x="73" y="164"/>
                  </a:cubicBezTo>
                  <a:cubicBezTo>
                    <a:pt x="73" y="90"/>
                    <a:pt x="133" y="30"/>
                    <a:pt x="207" y="30"/>
                  </a:cubicBezTo>
                  <a:cubicBezTo>
                    <a:pt x="209" y="30"/>
                    <a:pt x="209" y="30"/>
                    <a:pt x="209" y="30"/>
                  </a:cubicBezTo>
                  <a:cubicBezTo>
                    <a:pt x="282" y="30"/>
                    <a:pt x="342" y="90"/>
                    <a:pt x="342" y="164"/>
                  </a:cubicBezTo>
                  <a:cubicBezTo>
                    <a:pt x="342" y="171"/>
                    <a:pt x="342" y="237"/>
                    <a:pt x="364" y="275"/>
                  </a:cubicBezTo>
                  <a:cubicBezTo>
                    <a:pt x="369" y="282"/>
                    <a:pt x="369" y="282"/>
                    <a:pt x="369" y="282"/>
                  </a:cubicBezTo>
                  <a:cubicBezTo>
                    <a:pt x="361" y="286"/>
                    <a:pt x="361" y="286"/>
                    <a:pt x="361" y="286"/>
                  </a:cubicBezTo>
                  <a:cubicBezTo>
                    <a:pt x="335" y="300"/>
                    <a:pt x="280" y="322"/>
                    <a:pt x="208" y="322"/>
                  </a:cubicBezTo>
                  <a:close/>
                  <a:moveTo>
                    <a:pt x="70" y="275"/>
                  </a:moveTo>
                  <a:cubicBezTo>
                    <a:pt x="97" y="288"/>
                    <a:pt x="145" y="306"/>
                    <a:pt x="207" y="306"/>
                  </a:cubicBezTo>
                  <a:cubicBezTo>
                    <a:pt x="270" y="306"/>
                    <a:pt x="319" y="288"/>
                    <a:pt x="346" y="275"/>
                  </a:cubicBezTo>
                  <a:cubicBezTo>
                    <a:pt x="326" y="234"/>
                    <a:pt x="326" y="175"/>
                    <a:pt x="326" y="163"/>
                  </a:cubicBezTo>
                  <a:cubicBezTo>
                    <a:pt x="326" y="99"/>
                    <a:pt x="273" y="47"/>
                    <a:pt x="209" y="47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142" y="47"/>
                    <a:pt x="90" y="99"/>
                    <a:pt x="90" y="164"/>
                  </a:cubicBezTo>
                  <a:cubicBezTo>
                    <a:pt x="90" y="171"/>
                    <a:pt x="90" y="233"/>
                    <a:pt x="70" y="2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69" name="Freeform 47">
              <a:extLst>
                <a:ext uri="{FF2B5EF4-FFF2-40B4-BE49-F238E27FC236}">
                  <a16:creationId xmlns:a16="http://schemas.microsoft.com/office/drawing/2014/main" id="{CD2ABFBD-5317-B7EA-CF26-4656283BE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" y="2247"/>
              <a:ext cx="38" cy="147"/>
            </a:xfrm>
            <a:custGeom>
              <a:avLst/>
              <a:gdLst>
                <a:gd name="T0" fmla="*/ 29 w 38"/>
                <a:gd name="T1" fmla="*/ 147 h 147"/>
                <a:gd name="T2" fmla="*/ 0 w 38"/>
                <a:gd name="T3" fmla="*/ 2 h 147"/>
                <a:gd name="T4" fmla="*/ 9 w 38"/>
                <a:gd name="T5" fmla="*/ 0 h 147"/>
                <a:gd name="T6" fmla="*/ 38 w 38"/>
                <a:gd name="T7" fmla="*/ 147 h 147"/>
                <a:gd name="T8" fmla="*/ 29 w 38"/>
                <a:gd name="T9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147">
                  <a:moveTo>
                    <a:pt x="29" y="147"/>
                  </a:moveTo>
                  <a:lnTo>
                    <a:pt x="0" y="2"/>
                  </a:lnTo>
                  <a:lnTo>
                    <a:pt x="9" y="0"/>
                  </a:lnTo>
                  <a:lnTo>
                    <a:pt x="38" y="147"/>
                  </a:lnTo>
                  <a:lnTo>
                    <a:pt x="29" y="1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70" name="Freeform 48">
              <a:extLst>
                <a:ext uri="{FF2B5EF4-FFF2-40B4-BE49-F238E27FC236}">
                  <a16:creationId xmlns:a16="http://schemas.microsoft.com/office/drawing/2014/main" id="{034A57F8-A9FA-8E05-62C8-4D68BEF4A2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" y="2243"/>
              <a:ext cx="45" cy="153"/>
            </a:xfrm>
            <a:custGeom>
              <a:avLst/>
              <a:gdLst>
                <a:gd name="T0" fmla="*/ 45 w 45"/>
                <a:gd name="T1" fmla="*/ 153 h 153"/>
                <a:gd name="T2" fmla="*/ 30 w 45"/>
                <a:gd name="T3" fmla="*/ 153 h 153"/>
                <a:gd name="T4" fmla="*/ 0 w 45"/>
                <a:gd name="T5" fmla="*/ 3 h 153"/>
                <a:gd name="T6" fmla="*/ 14 w 45"/>
                <a:gd name="T7" fmla="*/ 0 h 153"/>
                <a:gd name="T8" fmla="*/ 45 w 45"/>
                <a:gd name="T9" fmla="*/ 153 h 153"/>
                <a:gd name="T10" fmla="*/ 34 w 45"/>
                <a:gd name="T11" fmla="*/ 148 h 153"/>
                <a:gd name="T12" fmla="*/ 38 w 45"/>
                <a:gd name="T13" fmla="*/ 148 h 153"/>
                <a:gd name="T14" fmla="*/ 10 w 45"/>
                <a:gd name="T15" fmla="*/ 7 h 153"/>
                <a:gd name="T16" fmla="*/ 6 w 45"/>
                <a:gd name="T17" fmla="*/ 7 h 153"/>
                <a:gd name="T18" fmla="*/ 34 w 45"/>
                <a:gd name="T19" fmla="*/ 148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153">
                  <a:moveTo>
                    <a:pt x="45" y="153"/>
                  </a:moveTo>
                  <a:lnTo>
                    <a:pt x="30" y="153"/>
                  </a:lnTo>
                  <a:lnTo>
                    <a:pt x="0" y="3"/>
                  </a:lnTo>
                  <a:lnTo>
                    <a:pt x="14" y="0"/>
                  </a:lnTo>
                  <a:lnTo>
                    <a:pt x="45" y="153"/>
                  </a:lnTo>
                  <a:close/>
                  <a:moveTo>
                    <a:pt x="34" y="148"/>
                  </a:moveTo>
                  <a:lnTo>
                    <a:pt x="38" y="148"/>
                  </a:lnTo>
                  <a:lnTo>
                    <a:pt x="10" y="7"/>
                  </a:lnTo>
                  <a:lnTo>
                    <a:pt x="6" y="7"/>
                  </a:lnTo>
                  <a:lnTo>
                    <a:pt x="34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71" name="Freeform 49">
              <a:extLst>
                <a:ext uri="{FF2B5EF4-FFF2-40B4-BE49-F238E27FC236}">
                  <a16:creationId xmlns:a16="http://schemas.microsoft.com/office/drawing/2014/main" id="{A70D7D03-64DB-0D91-6103-96457DC35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" y="2247"/>
              <a:ext cx="39" cy="147"/>
            </a:xfrm>
            <a:custGeom>
              <a:avLst/>
              <a:gdLst>
                <a:gd name="T0" fmla="*/ 9 w 39"/>
                <a:gd name="T1" fmla="*/ 147 h 147"/>
                <a:gd name="T2" fmla="*/ 0 w 39"/>
                <a:gd name="T3" fmla="*/ 147 h 147"/>
                <a:gd name="T4" fmla="*/ 29 w 39"/>
                <a:gd name="T5" fmla="*/ 0 h 147"/>
                <a:gd name="T6" fmla="*/ 39 w 39"/>
                <a:gd name="T7" fmla="*/ 2 h 147"/>
                <a:gd name="T8" fmla="*/ 9 w 39"/>
                <a:gd name="T9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47">
                  <a:moveTo>
                    <a:pt x="9" y="147"/>
                  </a:moveTo>
                  <a:lnTo>
                    <a:pt x="0" y="147"/>
                  </a:lnTo>
                  <a:lnTo>
                    <a:pt x="29" y="0"/>
                  </a:lnTo>
                  <a:lnTo>
                    <a:pt x="39" y="2"/>
                  </a:lnTo>
                  <a:lnTo>
                    <a:pt x="9" y="1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72" name="Freeform 50">
              <a:extLst>
                <a:ext uri="{FF2B5EF4-FFF2-40B4-BE49-F238E27FC236}">
                  <a16:creationId xmlns:a16="http://schemas.microsoft.com/office/drawing/2014/main" id="{D816E884-C086-DF3C-664D-F7717AEAB2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6" y="2243"/>
              <a:ext cx="46" cy="153"/>
            </a:xfrm>
            <a:custGeom>
              <a:avLst/>
              <a:gdLst>
                <a:gd name="T0" fmla="*/ 15 w 46"/>
                <a:gd name="T1" fmla="*/ 153 h 153"/>
                <a:gd name="T2" fmla="*/ 0 w 46"/>
                <a:gd name="T3" fmla="*/ 153 h 153"/>
                <a:gd name="T4" fmla="*/ 31 w 46"/>
                <a:gd name="T5" fmla="*/ 0 h 153"/>
                <a:gd name="T6" fmla="*/ 46 w 46"/>
                <a:gd name="T7" fmla="*/ 3 h 153"/>
                <a:gd name="T8" fmla="*/ 15 w 46"/>
                <a:gd name="T9" fmla="*/ 153 h 153"/>
                <a:gd name="T10" fmla="*/ 7 w 46"/>
                <a:gd name="T11" fmla="*/ 148 h 153"/>
                <a:gd name="T12" fmla="*/ 11 w 46"/>
                <a:gd name="T13" fmla="*/ 148 h 153"/>
                <a:gd name="T14" fmla="*/ 39 w 46"/>
                <a:gd name="T15" fmla="*/ 7 h 153"/>
                <a:gd name="T16" fmla="*/ 35 w 46"/>
                <a:gd name="T17" fmla="*/ 7 h 153"/>
                <a:gd name="T18" fmla="*/ 7 w 46"/>
                <a:gd name="T19" fmla="*/ 148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153">
                  <a:moveTo>
                    <a:pt x="15" y="153"/>
                  </a:moveTo>
                  <a:lnTo>
                    <a:pt x="0" y="153"/>
                  </a:lnTo>
                  <a:lnTo>
                    <a:pt x="31" y="0"/>
                  </a:lnTo>
                  <a:lnTo>
                    <a:pt x="46" y="3"/>
                  </a:lnTo>
                  <a:lnTo>
                    <a:pt x="15" y="153"/>
                  </a:lnTo>
                  <a:close/>
                  <a:moveTo>
                    <a:pt x="7" y="148"/>
                  </a:moveTo>
                  <a:lnTo>
                    <a:pt x="11" y="148"/>
                  </a:lnTo>
                  <a:lnTo>
                    <a:pt x="39" y="7"/>
                  </a:lnTo>
                  <a:lnTo>
                    <a:pt x="35" y="7"/>
                  </a:lnTo>
                  <a:lnTo>
                    <a:pt x="7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73" name="Rectangle 51">
              <a:extLst>
                <a:ext uri="{FF2B5EF4-FFF2-40B4-BE49-F238E27FC236}">
                  <a16:creationId xmlns:a16="http://schemas.microsoft.com/office/drawing/2014/main" id="{5A893F22-FB4D-1573-486C-496F248E8F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5" y="2285"/>
              <a:ext cx="9" cy="10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74" name="Freeform 52">
              <a:extLst>
                <a:ext uri="{FF2B5EF4-FFF2-40B4-BE49-F238E27FC236}">
                  <a16:creationId xmlns:a16="http://schemas.microsoft.com/office/drawing/2014/main" id="{8A62E31E-075F-5603-E0C1-418EF084B2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" y="2282"/>
              <a:ext cx="15" cy="114"/>
            </a:xfrm>
            <a:custGeom>
              <a:avLst/>
              <a:gdLst>
                <a:gd name="T0" fmla="*/ 15 w 15"/>
                <a:gd name="T1" fmla="*/ 114 h 114"/>
                <a:gd name="T2" fmla="*/ 0 w 15"/>
                <a:gd name="T3" fmla="*/ 114 h 114"/>
                <a:gd name="T4" fmla="*/ 0 w 15"/>
                <a:gd name="T5" fmla="*/ 0 h 114"/>
                <a:gd name="T6" fmla="*/ 15 w 15"/>
                <a:gd name="T7" fmla="*/ 0 h 114"/>
                <a:gd name="T8" fmla="*/ 15 w 15"/>
                <a:gd name="T9" fmla="*/ 114 h 114"/>
                <a:gd name="T10" fmla="*/ 5 w 15"/>
                <a:gd name="T11" fmla="*/ 109 h 114"/>
                <a:gd name="T12" fmla="*/ 10 w 15"/>
                <a:gd name="T13" fmla="*/ 109 h 114"/>
                <a:gd name="T14" fmla="*/ 10 w 15"/>
                <a:gd name="T15" fmla="*/ 6 h 114"/>
                <a:gd name="T16" fmla="*/ 5 w 15"/>
                <a:gd name="T17" fmla="*/ 6 h 114"/>
                <a:gd name="T18" fmla="*/ 5 w 15"/>
                <a:gd name="T19" fmla="*/ 109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114">
                  <a:moveTo>
                    <a:pt x="15" y="114"/>
                  </a:moveTo>
                  <a:lnTo>
                    <a:pt x="0" y="114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14"/>
                  </a:lnTo>
                  <a:close/>
                  <a:moveTo>
                    <a:pt x="5" y="109"/>
                  </a:moveTo>
                  <a:lnTo>
                    <a:pt x="10" y="109"/>
                  </a:lnTo>
                  <a:lnTo>
                    <a:pt x="10" y="6"/>
                  </a:lnTo>
                  <a:lnTo>
                    <a:pt x="5" y="6"/>
                  </a:lnTo>
                  <a:lnTo>
                    <a:pt x="5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75" name="Freeform 53">
              <a:extLst>
                <a:ext uri="{FF2B5EF4-FFF2-40B4-BE49-F238E27FC236}">
                  <a16:creationId xmlns:a16="http://schemas.microsoft.com/office/drawing/2014/main" id="{10C43877-11B0-7854-F7B7-B348A77B55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" y="2043"/>
              <a:ext cx="182" cy="239"/>
            </a:xfrm>
            <a:custGeom>
              <a:avLst/>
              <a:gdLst>
                <a:gd name="T0" fmla="*/ 88 w 563"/>
                <a:gd name="T1" fmla="*/ 741 h 741"/>
                <a:gd name="T2" fmla="*/ 0 w 563"/>
                <a:gd name="T3" fmla="*/ 687 h 741"/>
                <a:gd name="T4" fmla="*/ 25 w 563"/>
                <a:gd name="T5" fmla="*/ 281 h 741"/>
                <a:gd name="T6" fmla="*/ 284 w 563"/>
                <a:gd name="T7" fmla="*/ 0 h 741"/>
                <a:gd name="T8" fmla="*/ 540 w 563"/>
                <a:gd name="T9" fmla="*/ 281 h 741"/>
                <a:gd name="T10" fmla="*/ 563 w 563"/>
                <a:gd name="T11" fmla="*/ 686 h 741"/>
                <a:gd name="T12" fmla="*/ 477 w 563"/>
                <a:gd name="T13" fmla="*/ 741 h 741"/>
                <a:gd name="T14" fmla="*/ 461 w 563"/>
                <a:gd name="T15" fmla="*/ 715 h 741"/>
                <a:gd name="T16" fmla="*/ 532 w 563"/>
                <a:gd name="T17" fmla="*/ 671 h 741"/>
                <a:gd name="T18" fmla="*/ 510 w 563"/>
                <a:gd name="T19" fmla="*/ 283 h 741"/>
                <a:gd name="T20" fmla="*/ 284 w 563"/>
                <a:gd name="T21" fmla="*/ 30 h 741"/>
                <a:gd name="T22" fmla="*/ 55 w 563"/>
                <a:gd name="T23" fmla="*/ 284 h 741"/>
                <a:gd name="T24" fmla="*/ 31 w 563"/>
                <a:gd name="T25" fmla="*/ 670 h 741"/>
                <a:gd name="T26" fmla="*/ 104 w 563"/>
                <a:gd name="T27" fmla="*/ 715 h 741"/>
                <a:gd name="T28" fmla="*/ 88 w 563"/>
                <a:gd name="T29" fmla="*/ 741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63" h="741">
                  <a:moveTo>
                    <a:pt x="88" y="741"/>
                  </a:moveTo>
                  <a:cubicBezTo>
                    <a:pt x="0" y="687"/>
                    <a:pt x="0" y="687"/>
                    <a:pt x="0" y="687"/>
                  </a:cubicBezTo>
                  <a:cubicBezTo>
                    <a:pt x="25" y="281"/>
                    <a:pt x="25" y="281"/>
                    <a:pt x="25" y="281"/>
                  </a:cubicBezTo>
                  <a:cubicBezTo>
                    <a:pt x="38" y="126"/>
                    <a:pt x="154" y="0"/>
                    <a:pt x="284" y="0"/>
                  </a:cubicBezTo>
                  <a:cubicBezTo>
                    <a:pt x="413" y="0"/>
                    <a:pt x="528" y="126"/>
                    <a:pt x="540" y="281"/>
                  </a:cubicBezTo>
                  <a:cubicBezTo>
                    <a:pt x="563" y="686"/>
                    <a:pt x="563" y="686"/>
                    <a:pt x="563" y="686"/>
                  </a:cubicBezTo>
                  <a:cubicBezTo>
                    <a:pt x="477" y="741"/>
                    <a:pt x="477" y="741"/>
                    <a:pt x="477" y="741"/>
                  </a:cubicBezTo>
                  <a:cubicBezTo>
                    <a:pt x="461" y="715"/>
                    <a:pt x="461" y="715"/>
                    <a:pt x="461" y="715"/>
                  </a:cubicBezTo>
                  <a:cubicBezTo>
                    <a:pt x="532" y="671"/>
                    <a:pt x="532" y="671"/>
                    <a:pt x="532" y="671"/>
                  </a:cubicBezTo>
                  <a:cubicBezTo>
                    <a:pt x="510" y="283"/>
                    <a:pt x="510" y="283"/>
                    <a:pt x="510" y="283"/>
                  </a:cubicBezTo>
                  <a:cubicBezTo>
                    <a:pt x="500" y="144"/>
                    <a:pt x="398" y="30"/>
                    <a:pt x="284" y="30"/>
                  </a:cubicBezTo>
                  <a:cubicBezTo>
                    <a:pt x="170" y="30"/>
                    <a:pt x="67" y="144"/>
                    <a:pt x="55" y="284"/>
                  </a:cubicBezTo>
                  <a:cubicBezTo>
                    <a:pt x="31" y="670"/>
                    <a:pt x="31" y="670"/>
                    <a:pt x="31" y="670"/>
                  </a:cubicBezTo>
                  <a:cubicBezTo>
                    <a:pt x="104" y="715"/>
                    <a:pt x="104" y="715"/>
                    <a:pt x="104" y="715"/>
                  </a:cubicBezTo>
                  <a:lnTo>
                    <a:pt x="88" y="7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76" name="Freeform 54">
              <a:extLst>
                <a:ext uri="{FF2B5EF4-FFF2-40B4-BE49-F238E27FC236}">
                  <a16:creationId xmlns:a16="http://schemas.microsoft.com/office/drawing/2014/main" id="{034F0B94-DE67-5934-EFE5-535DE4F98D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6" y="2040"/>
              <a:ext cx="188" cy="245"/>
            </a:xfrm>
            <a:custGeom>
              <a:avLst/>
              <a:gdLst>
                <a:gd name="T0" fmla="*/ 100 w 580"/>
                <a:gd name="T1" fmla="*/ 760 h 760"/>
                <a:gd name="T2" fmla="*/ 0 w 580"/>
                <a:gd name="T3" fmla="*/ 699 h 760"/>
                <a:gd name="T4" fmla="*/ 26 w 580"/>
                <a:gd name="T5" fmla="*/ 289 h 760"/>
                <a:gd name="T6" fmla="*/ 293 w 580"/>
                <a:gd name="T7" fmla="*/ 0 h 760"/>
                <a:gd name="T8" fmla="*/ 558 w 580"/>
                <a:gd name="T9" fmla="*/ 289 h 760"/>
                <a:gd name="T10" fmla="*/ 580 w 580"/>
                <a:gd name="T11" fmla="*/ 699 h 760"/>
                <a:gd name="T12" fmla="*/ 483 w 580"/>
                <a:gd name="T13" fmla="*/ 760 h 760"/>
                <a:gd name="T14" fmla="*/ 458 w 580"/>
                <a:gd name="T15" fmla="*/ 721 h 760"/>
                <a:gd name="T16" fmla="*/ 532 w 580"/>
                <a:gd name="T17" fmla="*/ 674 h 760"/>
                <a:gd name="T18" fmla="*/ 511 w 580"/>
                <a:gd name="T19" fmla="*/ 292 h 760"/>
                <a:gd name="T20" fmla="*/ 293 w 580"/>
                <a:gd name="T21" fmla="*/ 46 h 760"/>
                <a:gd name="T22" fmla="*/ 72 w 580"/>
                <a:gd name="T23" fmla="*/ 292 h 760"/>
                <a:gd name="T24" fmla="*/ 48 w 580"/>
                <a:gd name="T25" fmla="*/ 674 h 760"/>
                <a:gd name="T26" fmla="*/ 124 w 580"/>
                <a:gd name="T27" fmla="*/ 720 h 760"/>
                <a:gd name="T28" fmla="*/ 100 w 580"/>
                <a:gd name="T29" fmla="*/ 760 h 760"/>
                <a:gd name="T30" fmla="*/ 17 w 580"/>
                <a:gd name="T31" fmla="*/ 690 h 760"/>
                <a:gd name="T32" fmla="*/ 95 w 580"/>
                <a:gd name="T33" fmla="*/ 737 h 760"/>
                <a:gd name="T34" fmla="*/ 102 w 580"/>
                <a:gd name="T35" fmla="*/ 726 h 760"/>
                <a:gd name="T36" fmla="*/ 31 w 580"/>
                <a:gd name="T37" fmla="*/ 683 h 760"/>
                <a:gd name="T38" fmla="*/ 56 w 580"/>
                <a:gd name="T39" fmla="*/ 291 h 760"/>
                <a:gd name="T40" fmla="*/ 293 w 580"/>
                <a:gd name="T41" fmla="*/ 30 h 760"/>
                <a:gd name="T42" fmla="*/ 528 w 580"/>
                <a:gd name="T43" fmla="*/ 290 h 760"/>
                <a:gd name="T44" fmla="*/ 549 w 580"/>
                <a:gd name="T45" fmla="*/ 683 h 760"/>
                <a:gd name="T46" fmla="*/ 481 w 580"/>
                <a:gd name="T47" fmla="*/ 726 h 760"/>
                <a:gd name="T48" fmla="*/ 488 w 580"/>
                <a:gd name="T49" fmla="*/ 737 h 760"/>
                <a:gd name="T50" fmla="*/ 563 w 580"/>
                <a:gd name="T51" fmla="*/ 690 h 760"/>
                <a:gd name="T52" fmla="*/ 541 w 580"/>
                <a:gd name="T53" fmla="*/ 290 h 760"/>
                <a:gd name="T54" fmla="*/ 293 w 580"/>
                <a:gd name="T55" fmla="*/ 16 h 760"/>
                <a:gd name="T56" fmla="*/ 43 w 580"/>
                <a:gd name="T57" fmla="*/ 290 h 760"/>
                <a:gd name="T58" fmla="*/ 17 w 580"/>
                <a:gd name="T59" fmla="*/ 69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80" h="760">
                  <a:moveTo>
                    <a:pt x="100" y="760"/>
                  </a:moveTo>
                  <a:cubicBezTo>
                    <a:pt x="0" y="699"/>
                    <a:pt x="0" y="699"/>
                    <a:pt x="0" y="699"/>
                  </a:cubicBezTo>
                  <a:cubicBezTo>
                    <a:pt x="26" y="289"/>
                    <a:pt x="26" y="289"/>
                    <a:pt x="26" y="289"/>
                  </a:cubicBezTo>
                  <a:cubicBezTo>
                    <a:pt x="40" y="129"/>
                    <a:pt x="159" y="0"/>
                    <a:pt x="293" y="0"/>
                  </a:cubicBezTo>
                  <a:cubicBezTo>
                    <a:pt x="427" y="0"/>
                    <a:pt x="545" y="129"/>
                    <a:pt x="558" y="289"/>
                  </a:cubicBezTo>
                  <a:cubicBezTo>
                    <a:pt x="580" y="699"/>
                    <a:pt x="580" y="699"/>
                    <a:pt x="580" y="699"/>
                  </a:cubicBezTo>
                  <a:cubicBezTo>
                    <a:pt x="483" y="760"/>
                    <a:pt x="483" y="760"/>
                    <a:pt x="483" y="760"/>
                  </a:cubicBezTo>
                  <a:cubicBezTo>
                    <a:pt x="458" y="721"/>
                    <a:pt x="458" y="721"/>
                    <a:pt x="458" y="721"/>
                  </a:cubicBezTo>
                  <a:cubicBezTo>
                    <a:pt x="532" y="674"/>
                    <a:pt x="532" y="674"/>
                    <a:pt x="532" y="674"/>
                  </a:cubicBezTo>
                  <a:cubicBezTo>
                    <a:pt x="511" y="292"/>
                    <a:pt x="511" y="292"/>
                    <a:pt x="511" y="292"/>
                  </a:cubicBezTo>
                  <a:cubicBezTo>
                    <a:pt x="501" y="156"/>
                    <a:pt x="403" y="46"/>
                    <a:pt x="293" y="46"/>
                  </a:cubicBezTo>
                  <a:cubicBezTo>
                    <a:pt x="183" y="46"/>
                    <a:pt x="84" y="157"/>
                    <a:pt x="72" y="292"/>
                  </a:cubicBezTo>
                  <a:cubicBezTo>
                    <a:pt x="48" y="674"/>
                    <a:pt x="48" y="674"/>
                    <a:pt x="48" y="674"/>
                  </a:cubicBezTo>
                  <a:cubicBezTo>
                    <a:pt x="124" y="720"/>
                    <a:pt x="124" y="720"/>
                    <a:pt x="124" y="720"/>
                  </a:cubicBezTo>
                  <a:lnTo>
                    <a:pt x="100" y="760"/>
                  </a:lnTo>
                  <a:close/>
                  <a:moveTo>
                    <a:pt x="17" y="690"/>
                  </a:moveTo>
                  <a:cubicBezTo>
                    <a:pt x="95" y="737"/>
                    <a:pt x="95" y="737"/>
                    <a:pt x="95" y="737"/>
                  </a:cubicBezTo>
                  <a:cubicBezTo>
                    <a:pt x="102" y="726"/>
                    <a:pt x="102" y="726"/>
                    <a:pt x="102" y="726"/>
                  </a:cubicBezTo>
                  <a:cubicBezTo>
                    <a:pt x="31" y="683"/>
                    <a:pt x="31" y="683"/>
                    <a:pt x="31" y="683"/>
                  </a:cubicBezTo>
                  <a:cubicBezTo>
                    <a:pt x="56" y="291"/>
                    <a:pt x="56" y="291"/>
                    <a:pt x="56" y="291"/>
                  </a:cubicBezTo>
                  <a:cubicBezTo>
                    <a:pt x="68" y="147"/>
                    <a:pt x="174" y="30"/>
                    <a:pt x="293" y="30"/>
                  </a:cubicBezTo>
                  <a:cubicBezTo>
                    <a:pt x="411" y="30"/>
                    <a:pt x="517" y="147"/>
                    <a:pt x="528" y="290"/>
                  </a:cubicBezTo>
                  <a:cubicBezTo>
                    <a:pt x="549" y="683"/>
                    <a:pt x="549" y="683"/>
                    <a:pt x="549" y="683"/>
                  </a:cubicBezTo>
                  <a:cubicBezTo>
                    <a:pt x="481" y="726"/>
                    <a:pt x="481" y="726"/>
                    <a:pt x="481" y="726"/>
                  </a:cubicBezTo>
                  <a:cubicBezTo>
                    <a:pt x="488" y="737"/>
                    <a:pt x="488" y="737"/>
                    <a:pt x="488" y="737"/>
                  </a:cubicBezTo>
                  <a:cubicBezTo>
                    <a:pt x="563" y="690"/>
                    <a:pt x="563" y="690"/>
                    <a:pt x="563" y="690"/>
                  </a:cubicBezTo>
                  <a:cubicBezTo>
                    <a:pt x="541" y="290"/>
                    <a:pt x="541" y="290"/>
                    <a:pt x="541" y="290"/>
                  </a:cubicBezTo>
                  <a:cubicBezTo>
                    <a:pt x="529" y="139"/>
                    <a:pt x="418" y="16"/>
                    <a:pt x="293" y="16"/>
                  </a:cubicBezTo>
                  <a:cubicBezTo>
                    <a:pt x="168" y="16"/>
                    <a:pt x="55" y="139"/>
                    <a:pt x="43" y="290"/>
                  </a:cubicBezTo>
                  <a:lnTo>
                    <a:pt x="17" y="6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grpSp>
        <p:nvGrpSpPr>
          <p:cNvPr id="277" name="Group 73">
            <a:extLst>
              <a:ext uri="{FF2B5EF4-FFF2-40B4-BE49-F238E27FC236}">
                <a16:creationId xmlns:a16="http://schemas.microsoft.com/office/drawing/2014/main" id="{825101C5-99BD-F2BC-9714-AE0CFFE89A0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095107" y="3531621"/>
            <a:ext cx="978407" cy="838636"/>
            <a:chOff x="3232" y="2958"/>
            <a:chExt cx="945" cy="810"/>
          </a:xfrm>
          <a:solidFill>
            <a:schemeClr val="tx2"/>
          </a:solidFill>
        </p:grpSpPr>
        <p:sp>
          <p:nvSpPr>
            <p:cNvPr id="278" name="Freeform 74">
              <a:extLst>
                <a:ext uri="{FF2B5EF4-FFF2-40B4-BE49-F238E27FC236}">
                  <a16:creationId xmlns:a16="http://schemas.microsoft.com/office/drawing/2014/main" id="{71BCFADD-E019-C8E7-0421-DFF7B2222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1" y="3283"/>
              <a:ext cx="171" cy="115"/>
            </a:xfrm>
            <a:custGeom>
              <a:avLst/>
              <a:gdLst>
                <a:gd name="T0" fmla="*/ 74 w 171"/>
                <a:gd name="T1" fmla="*/ 16 h 115"/>
                <a:gd name="T2" fmla="*/ 58 w 171"/>
                <a:gd name="T3" fmla="*/ 0 h 115"/>
                <a:gd name="T4" fmla="*/ 0 w 171"/>
                <a:gd name="T5" fmla="*/ 58 h 115"/>
                <a:gd name="T6" fmla="*/ 58 w 171"/>
                <a:gd name="T7" fmla="*/ 115 h 115"/>
                <a:gd name="T8" fmla="*/ 74 w 171"/>
                <a:gd name="T9" fmla="*/ 100 h 115"/>
                <a:gd name="T10" fmla="*/ 43 w 171"/>
                <a:gd name="T11" fmla="*/ 69 h 115"/>
                <a:gd name="T12" fmla="*/ 171 w 171"/>
                <a:gd name="T13" fmla="*/ 69 h 115"/>
                <a:gd name="T14" fmla="*/ 171 w 171"/>
                <a:gd name="T15" fmla="*/ 47 h 115"/>
                <a:gd name="T16" fmla="*/ 43 w 171"/>
                <a:gd name="T17" fmla="*/ 47 h 115"/>
                <a:gd name="T18" fmla="*/ 74 w 171"/>
                <a:gd name="T19" fmla="*/ 1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1" h="115">
                  <a:moveTo>
                    <a:pt x="74" y="16"/>
                  </a:moveTo>
                  <a:lnTo>
                    <a:pt x="58" y="0"/>
                  </a:lnTo>
                  <a:lnTo>
                    <a:pt x="0" y="58"/>
                  </a:lnTo>
                  <a:lnTo>
                    <a:pt x="58" y="115"/>
                  </a:lnTo>
                  <a:lnTo>
                    <a:pt x="74" y="100"/>
                  </a:lnTo>
                  <a:lnTo>
                    <a:pt x="43" y="69"/>
                  </a:lnTo>
                  <a:lnTo>
                    <a:pt x="171" y="69"/>
                  </a:lnTo>
                  <a:lnTo>
                    <a:pt x="171" y="47"/>
                  </a:lnTo>
                  <a:lnTo>
                    <a:pt x="43" y="47"/>
                  </a:lnTo>
                  <a:lnTo>
                    <a:pt x="74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79" name="Rectangle 75">
              <a:extLst>
                <a:ext uri="{FF2B5EF4-FFF2-40B4-BE49-F238E27FC236}">
                  <a16:creationId xmlns:a16="http://schemas.microsoft.com/office/drawing/2014/main" id="{D0F8612E-A3DA-FC38-C8F0-CAB87A8015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5" y="3330"/>
              <a:ext cx="32" cy="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80" name="Rectangle 76">
              <a:extLst>
                <a:ext uri="{FF2B5EF4-FFF2-40B4-BE49-F238E27FC236}">
                  <a16:creationId xmlns:a16="http://schemas.microsoft.com/office/drawing/2014/main" id="{135927E0-C38B-6AE5-B115-2653BEBD9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8" y="3330"/>
              <a:ext cx="31" cy="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81" name="Freeform 77">
              <a:extLst>
                <a:ext uri="{FF2B5EF4-FFF2-40B4-BE49-F238E27FC236}">
                  <a16:creationId xmlns:a16="http://schemas.microsoft.com/office/drawing/2014/main" id="{8793A993-4769-6863-E1CC-511953DE4C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7" y="3283"/>
              <a:ext cx="171" cy="115"/>
            </a:xfrm>
            <a:custGeom>
              <a:avLst/>
              <a:gdLst>
                <a:gd name="T0" fmla="*/ 113 w 171"/>
                <a:gd name="T1" fmla="*/ 0 h 115"/>
                <a:gd name="T2" fmla="*/ 97 w 171"/>
                <a:gd name="T3" fmla="*/ 16 h 115"/>
                <a:gd name="T4" fmla="*/ 128 w 171"/>
                <a:gd name="T5" fmla="*/ 47 h 115"/>
                <a:gd name="T6" fmla="*/ 0 w 171"/>
                <a:gd name="T7" fmla="*/ 47 h 115"/>
                <a:gd name="T8" fmla="*/ 0 w 171"/>
                <a:gd name="T9" fmla="*/ 69 h 115"/>
                <a:gd name="T10" fmla="*/ 129 w 171"/>
                <a:gd name="T11" fmla="*/ 69 h 115"/>
                <a:gd name="T12" fmla="*/ 97 w 171"/>
                <a:gd name="T13" fmla="*/ 100 h 115"/>
                <a:gd name="T14" fmla="*/ 113 w 171"/>
                <a:gd name="T15" fmla="*/ 115 h 115"/>
                <a:gd name="T16" fmla="*/ 171 w 171"/>
                <a:gd name="T17" fmla="*/ 58 h 115"/>
                <a:gd name="T18" fmla="*/ 113 w 171"/>
                <a:gd name="T19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1" h="115">
                  <a:moveTo>
                    <a:pt x="113" y="0"/>
                  </a:moveTo>
                  <a:lnTo>
                    <a:pt x="97" y="16"/>
                  </a:lnTo>
                  <a:lnTo>
                    <a:pt x="128" y="47"/>
                  </a:lnTo>
                  <a:lnTo>
                    <a:pt x="0" y="47"/>
                  </a:lnTo>
                  <a:lnTo>
                    <a:pt x="0" y="69"/>
                  </a:lnTo>
                  <a:lnTo>
                    <a:pt x="129" y="69"/>
                  </a:lnTo>
                  <a:lnTo>
                    <a:pt x="97" y="100"/>
                  </a:lnTo>
                  <a:lnTo>
                    <a:pt x="113" y="115"/>
                  </a:lnTo>
                  <a:lnTo>
                    <a:pt x="171" y="58"/>
                  </a:lnTo>
                  <a:lnTo>
                    <a:pt x="11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82" name="Rectangle 78">
              <a:extLst>
                <a:ext uri="{FF2B5EF4-FFF2-40B4-BE49-F238E27FC236}">
                  <a16:creationId xmlns:a16="http://schemas.microsoft.com/office/drawing/2014/main" id="{832EF929-2EC7-2638-A0ED-F6B4882408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2" y="3330"/>
              <a:ext cx="32" cy="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83" name="Rectangle 79">
              <a:extLst>
                <a:ext uri="{FF2B5EF4-FFF2-40B4-BE49-F238E27FC236}">
                  <a16:creationId xmlns:a16="http://schemas.microsoft.com/office/drawing/2014/main" id="{AD15262A-4CAD-7AFA-8E33-0C466E5833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70" y="3330"/>
              <a:ext cx="31" cy="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84" name="Freeform 80">
              <a:extLst>
                <a:ext uri="{FF2B5EF4-FFF2-40B4-BE49-F238E27FC236}">
                  <a16:creationId xmlns:a16="http://schemas.microsoft.com/office/drawing/2014/main" id="{71BC22E9-B93B-498D-5F57-DAC045FE26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2" y="3027"/>
              <a:ext cx="128" cy="127"/>
            </a:xfrm>
            <a:custGeom>
              <a:avLst/>
              <a:gdLst>
                <a:gd name="T0" fmla="*/ 22 w 128"/>
                <a:gd name="T1" fmla="*/ 90 h 127"/>
                <a:gd name="T2" fmla="*/ 22 w 128"/>
                <a:gd name="T3" fmla="*/ 46 h 127"/>
                <a:gd name="T4" fmla="*/ 0 w 128"/>
                <a:gd name="T5" fmla="*/ 46 h 127"/>
                <a:gd name="T6" fmla="*/ 0 w 128"/>
                <a:gd name="T7" fmla="*/ 127 h 127"/>
                <a:gd name="T8" fmla="*/ 82 w 128"/>
                <a:gd name="T9" fmla="*/ 127 h 127"/>
                <a:gd name="T10" fmla="*/ 82 w 128"/>
                <a:gd name="T11" fmla="*/ 105 h 127"/>
                <a:gd name="T12" fmla="*/ 38 w 128"/>
                <a:gd name="T13" fmla="*/ 105 h 127"/>
                <a:gd name="T14" fmla="*/ 127 w 128"/>
                <a:gd name="T15" fmla="*/ 17 h 127"/>
                <a:gd name="T16" fmla="*/ 128 w 128"/>
                <a:gd name="T17" fmla="*/ 16 h 127"/>
                <a:gd name="T18" fmla="*/ 112 w 128"/>
                <a:gd name="T19" fmla="*/ 0 h 127"/>
                <a:gd name="T20" fmla="*/ 22 w 128"/>
                <a:gd name="T21" fmla="*/ 9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127">
                  <a:moveTo>
                    <a:pt x="22" y="90"/>
                  </a:moveTo>
                  <a:lnTo>
                    <a:pt x="22" y="46"/>
                  </a:lnTo>
                  <a:lnTo>
                    <a:pt x="0" y="46"/>
                  </a:lnTo>
                  <a:lnTo>
                    <a:pt x="0" y="127"/>
                  </a:lnTo>
                  <a:lnTo>
                    <a:pt x="82" y="127"/>
                  </a:lnTo>
                  <a:lnTo>
                    <a:pt x="82" y="105"/>
                  </a:lnTo>
                  <a:lnTo>
                    <a:pt x="38" y="105"/>
                  </a:lnTo>
                  <a:lnTo>
                    <a:pt x="127" y="17"/>
                  </a:lnTo>
                  <a:lnTo>
                    <a:pt x="128" y="16"/>
                  </a:lnTo>
                  <a:lnTo>
                    <a:pt x="112" y="0"/>
                  </a:lnTo>
                  <a:lnTo>
                    <a:pt x="22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85" name="Freeform 81">
              <a:extLst>
                <a:ext uri="{FF2B5EF4-FFF2-40B4-BE49-F238E27FC236}">
                  <a16:creationId xmlns:a16="http://schemas.microsoft.com/office/drawing/2014/main" id="{67D167F0-9064-F970-0B3B-8C82615CA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5" y="2974"/>
              <a:ext cx="38" cy="38"/>
            </a:xfrm>
            <a:custGeom>
              <a:avLst/>
              <a:gdLst>
                <a:gd name="T0" fmla="*/ 23 w 38"/>
                <a:gd name="T1" fmla="*/ 0 h 38"/>
                <a:gd name="T2" fmla="*/ 0 w 38"/>
                <a:gd name="T3" fmla="*/ 22 h 38"/>
                <a:gd name="T4" fmla="*/ 16 w 38"/>
                <a:gd name="T5" fmla="*/ 38 h 38"/>
                <a:gd name="T6" fmla="*/ 38 w 38"/>
                <a:gd name="T7" fmla="*/ 16 h 38"/>
                <a:gd name="T8" fmla="*/ 23 w 38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3" y="0"/>
                  </a:moveTo>
                  <a:lnTo>
                    <a:pt x="0" y="22"/>
                  </a:lnTo>
                  <a:lnTo>
                    <a:pt x="16" y="38"/>
                  </a:lnTo>
                  <a:lnTo>
                    <a:pt x="38" y="16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86" name="Freeform 82">
              <a:extLst>
                <a:ext uri="{FF2B5EF4-FFF2-40B4-BE49-F238E27FC236}">
                  <a16:creationId xmlns:a16="http://schemas.microsoft.com/office/drawing/2014/main" id="{50EE2B34-1F39-0322-EB91-190F24CFB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9" y="3001"/>
              <a:ext cx="37" cy="37"/>
            </a:xfrm>
            <a:custGeom>
              <a:avLst/>
              <a:gdLst>
                <a:gd name="T0" fmla="*/ 0 w 37"/>
                <a:gd name="T1" fmla="*/ 22 h 37"/>
                <a:gd name="T2" fmla="*/ 16 w 37"/>
                <a:gd name="T3" fmla="*/ 37 h 37"/>
                <a:gd name="T4" fmla="*/ 37 w 37"/>
                <a:gd name="T5" fmla="*/ 15 h 37"/>
                <a:gd name="T6" fmla="*/ 22 w 37"/>
                <a:gd name="T7" fmla="*/ 0 h 37"/>
                <a:gd name="T8" fmla="*/ 0 w 37"/>
                <a:gd name="T9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0" y="22"/>
                  </a:moveTo>
                  <a:lnTo>
                    <a:pt x="16" y="37"/>
                  </a:lnTo>
                  <a:lnTo>
                    <a:pt x="37" y="15"/>
                  </a:lnTo>
                  <a:lnTo>
                    <a:pt x="22" y="0"/>
                  </a:lnTo>
                  <a:lnTo>
                    <a:pt x="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87" name="Freeform 83">
              <a:extLst>
                <a:ext uri="{FF2B5EF4-FFF2-40B4-BE49-F238E27FC236}">
                  <a16:creationId xmlns:a16="http://schemas.microsoft.com/office/drawing/2014/main" id="{8C798CC6-45A0-1CE8-ABCB-A098D189BE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9" y="3527"/>
              <a:ext cx="128" cy="127"/>
            </a:xfrm>
            <a:custGeom>
              <a:avLst/>
              <a:gdLst>
                <a:gd name="T0" fmla="*/ 47 w 128"/>
                <a:gd name="T1" fmla="*/ 0 h 127"/>
                <a:gd name="T2" fmla="*/ 47 w 128"/>
                <a:gd name="T3" fmla="*/ 22 h 127"/>
                <a:gd name="T4" fmla="*/ 91 w 128"/>
                <a:gd name="T5" fmla="*/ 22 h 127"/>
                <a:gd name="T6" fmla="*/ 1 w 128"/>
                <a:gd name="T7" fmla="*/ 111 h 127"/>
                <a:gd name="T8" fmla="*/ 0 w 128"/>
                <a:gd name="T9" fmla="*/ 112 h 127"/>
                <a:gd name="T10" fmla="*/ 16 w 128"/>
                <a:gd name="T11" fmla="*/ 127 h 127"/>
                <a:gd name="T12" fmla="*/ 106 w 128"/>
                <a:gd name="T13" fmla="*/ 38 h 127"/>
                <a:gd name="T14" fmla="*/ 106 w 128"/>
                <a:gd name="T15" fmla="*/ 82 h 127"/>
                <a:gd name="T16" fmla="*/ 128 w 128"/>
                <a:gd name="T17" fmla="*/ 82 h 127"/>
                <a:gd name="T18" fmla="*/ 128 w 128"/>
                <a:gd name="T19" fmla="*/ 0 h 127"/>
                <a:gd name="T20" fmla="*/ 47 w 128"/>
                <a:gd name="T2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127">
                  <a:moveTo>
                    <a:pt x="47" y="0"/>
                  </a:moveTo>
                  <a:lnTo>
                    <a:pt x="47" y="22"/>
                  </a:lnTo>
                  <a:lnTo>
                    <a:pt x="91" y="22"/>
                  </a:lnTo>
                  <a:lnTo>
                    <a:pt x="1" y="111"/>
                  </a:lnTo>
                  <a:lnTo>
                    <a:pt x="0" y="112"/>
                  </a:lnTo>
                  <a:lnTo>
                    <a:pt x="16" y="127"/>
                  </a:lnTo>
                  <a:lnTo>
                    <a:pt x="106" y="38"/>
                  </a:lnTo>
                  <a:lnTo>
                    <a:pt x="106" y="82"/>
                  </a:lnTo>
                  <a:lnTo>
                    <a:pt x="128" y="82"/>
                  </a:lnTo>
                  <a:lnTo>
                    <a:pt x="128" y="0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88" name="Freeform 84">
              <a:extLst>
                <a:ext uri="{FF2B5EF4-FFF2-40B4-BE49-F238E27FC236}">
                  <a16:creationId xmlns:a16="http://schemas.microsoft.com/office/drawing/2014/main" id="{32696EED-47F3-7D0A-17A9-6EC55795C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" y="3670"/>
              <a:ext cx="38" cy="37"/>
            </a:xfrm>
            <a:custGeom>
              <a:avLst/>
              <a:gdLst>
                <a:gd name="T0" fmla="*/ 0 w 38"/>
                <a:gd name="T1" fmla="*/ 22 h 37"/>
                <a:gd name="T2" fmla="*/ 16 w 38"/>
                <a:gd name="T3" fmla="*/ 37 h 37"/>
                <a:gd name="T4" fmla="*/ 38 w 38"/>
                <a:gd name="T5" fmla="*/ 15 h 37"/>
                <a:gd name="T6" fmla="*/ 22 w 38"/>
                <a:gd name="T7" fmla="*/ 0 h 37"/>
                <a:gd name="T8" fmla="*/ 0 w 38"/>
                <a:gd name="T9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7">
                  <a:moveTo>
                    <a:pt x="0" y="22"/>
                  </a:moveTo>
                  <a:lnTo>
                    <a:pt x="16" y="37"/>
                  </a:lnTo>
                  <a:lnTo>
                    <a:pt x="38" y="15"/>
                  </a:lnTo>
                  <a:lnTo>
                    <a:pt x="22" y="0"/>
                  </a:lnTo>
                  <a:lnTo>
                    <a:pt x="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89" name="Freeform 85">
              <a:extLst>
                <a:ext uri="{FF2B5EF4-FFF2-40B4-BE49-F238E27FC236}">
                  <a16:creationId xmlns:a16="http://schemas.microsoft.com/office/drawing/2014/main" id="{5C5AEAE8-620A-6DB1-E6C3-7C1685E084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3" y="3644"/>
              <a:ext cx="37" cy="37"/>
            </a:xfrm>
            <a:custGeom>
              <a:avLst/>
              <a:gdLst>
                <a:gd name="T0" fmla="*/ 0 w 37"/>
                <a:gd name="T1" fmla="*/ 21 h 37"/>
                <a:gd name="T2" fmla="*/ 15 w 37"/>
                <a:gd name="T3" fmla="*/ 37 h 37"/>
                <a:gd name="T4" fmla="*/ 37 w 37"/>
                <a:gd name="T5" fmla="*/ 15 h 37"/>
                <a:gd name="T6" fmla="*/ 22 w 37"/>
                <a:gd name="T7" fmla="*/ 0 h 37"/>
                <a:gd name="T8" fmla="*/ 0 w 37"/>
                <a:gd name="T9" fmla="*/ 2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0" y="21"/>
                  </a:moveTo>
                  <a:lnTo>
                    <a:pt x="15" y="37"/>
                  </a:lnTo>
                  <a:lnTo>
                    <a:pt x="37" y="15"/>
                  </a:lnTo>
                  <a:lnTo>
                    <a:pt x="22" y="0"/>
                  </a:lnTo>
                  <a:lnTo>
                    <a:pt x="0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90" name="Freeform 86">
              <a:extLst>
                <a:ext uri="{FF2B5EF4-FFF2-40B4-BE49-F238E27FC236}">
                  <a16:creationId xmlns:a16="http://schemas.microsoft.com/office/drawing/2014/main" id="{A05595D9-3CE9-DC29-74E1-38B872180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9" y="3027"/>
              <a:ext cx="128" cy="127"/>
            </a:xfrm>
            <a:custGeom>
              <a:avLst/>
              <a:gdLst>
                <a:gd name="T0" fmla="*/ 106 w 128"/>
                <a:gd name="T1" fmla="*/ 46 h 127"/>
                <a:gd name="T2" fmla="*/ 106 w 128"/>
                <a:gd name="T3" fmla="*/ 90 h 127"/>
                <a:gd name="T4" fmla="*/ 16 w 128"/>
                <a:gd name="T5" fmla="*/ 0 h 127"/>
                <a:gd name="T6" fmla="*/ 0 w 128"/>
                <a:gd name="T7" fmla="*/ 16 h 127"/>
                <a:gd name="T8" fmla="*/ 91 w 128"/>
                <a:gd name="T9" fmla="*/ 105 h 127"/>
                <a:gd name="T10" fmla="*/ 47 w 128"/>
                <a:gd name="T11" fmla="*/ 105 h 127"/>
                <a:gd name="T12" fmla="*/ 47 w 128"/>
                <a:gd name="T13" fmla="*/ 127 h 127"/>
                <a:gd name="T14" fmla="*/ 128 w 128"/>
                <a:gd name="T15" fmla="*/ 127 h 127"/>
                <a:gd name="T16" fmla="*/ 128 w 128"/>
                <a:gd name="T17" fmla="*/ 46 h 127"/>
                <a:gd name="T18" fmla="*/ 106 w 128"/>
                <a:gd name="T19" fmla="*/ 46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7">
                  <a:moveTo>
                    <a:pt x="106" y="46"/>
                  </a:moveTo>
                  <a:lnTo>
                    <a:pt x="106" y="90"/>
                  </a:lnTo>
                  <a:lnTo>
                    <a:pt x="16" y="0"/>
                  </a:lnTo>
                  <a:lnTo>
                    <a:pt x="0" y="16"/>
                  </a:lnTo>
                  <a:lnTo>
                    <a:pt x="91" y="105"/>
                  </a:lnTo>
                  <a:lnTo>
                    <a:pt x="47" y="105"/>
                  </a:lnTo>
                  <a:lnTo>
                    <a:pt x="47" y="127"/>
                  </a:lnTo>
                  <a:lnTo>
                    <a:pt x="128" y="127"/>
                  </a:lnTo>
                  <a:lnTo>
                    <a:pt x="128" y="46"/>
                  </a:lnTo>
                  <a:lnTo>
                    <a:pt x="106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91" name="Freeform 87">
              <a:extLst>
                <a:ext uri="{FF2B5EF4-FFF2-40B4-BE49-F238E27FC236}">
                  <a16:creationId xmlns:a16="http://schemas.microsoft.com/office/drawing/2014/main" id="{A839594A-7B71-BEBC-4003-1FF62E5A57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" y="2974"/>
              <a:ext cx="38" cy="38"/>
            </a:xfrm>
            <a:custGeom>
              <a:avLst/>
              <a:gdLst>
                <a:gd name="T0" fmla="*/ 16 w 38"/>
                <a:gd name="T1" fmla="*/ 0 h 38"/>
                <a:gd name="T2" fmla="*/ 0 w 38"/>
                <a:gd name="T3" fmla="*/ 16 h 38"/>
                <a:gd name="T4" fmla="*/ 22 w 38"/>
                <a:gd name="T5" fmla="*/ 38 h 38"/>
                <a:gd name="T6" fmla="*/ 38 w 38"/>
                <a:gd name="T7" fmla="*/ 22 h 38"/>
                <a:gd name="T8" fmla="*/ 16 w 38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16" y="0"/>
                  </a:moveTo>
                  <a:lnTo>
                    <a:pt x="0" y="16"/>
                  </a:lnTo>
                  <a:lnTo>
                    <a:pt x="22" y="38"/>
                  </a:lnTo>
                  <a:lnTo>
                    <a:pt x="38" y="22"/>
                  </a:lnTo>
                  <a:lnTo>
                    <a:pt x="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92" name="Freeform 88">
              <a:extLst>
                <a:ext uri="{FF2B5EF4-FFF2-40B4-BE49-F238E27FC236}">
                  <a16:creationId xmlns:a16="http://schemas.microsoft.com/office/drawing/2014/main" id="{60A04CA8-6F41-5B4F-FE78-FD17E2B800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3" y="3001"/>
              <a:ext cx="37" cy="37"/>
            </a:xfrm>
            <a:custGeom>
              <a:avLst/>
              <a:gdLst>
                <a:gd name="T0" fmla="*/ 15 w 37"/>
                <a:gd name="T1" fmla="*/ 0 h 37"/>
                <a:gd name="T2" fmla="*/ 0 w 37"/>
                <a:gd name="T3" fmla="*/ 15 h 37"/>
                <a:gd name="T4" fmla="*/ 22 w 37"/>
                <a:gd name="T5" fmla="*/ 37 h 37"/>
                <a:gd name="T6" fmla="*/ 37 w 37"/>
                <a:gd name="T7" fmla="*/ 22 h 37"/>
                <a:gd name="T8" fmla="*/ 15 w 37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15" y="0"/>
                  </a:moveTo>
                  <a:lnTo>
                    <a:pt x="0" y="15"/>
                  </a:lnTo>
                  <a:lnTo>
                    <a:pt x="22" y="37"/>
                  </a:lnTo>
                  <a:lnTo>
                    <a:pt x="37" y="22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93" name="Freeform 89">
              <a:extLst>
                <a:ext uri="{FF2B5EF4-FFF2-40B4-BE49-F238E27FC236}">
                  <a16:creationId xmlns:a16="http://schemas.microsoft.com/office/drawing/2014/main" id="{569F555D-0B14-47C9-D3D0-712CC0C087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2" y="3527"/>
              <a:ext cx="128" cy="127"/>
            </a:xfrm>
            <a:custGeom>
              <a:avLst/>
              <a:gdLst>
                <a:gd name="T0" fmla="*/ 128 w 128"/>
                <a:gd name="T1" fmla="*/ 112 h 127"/>
                <a:gd name="T2" fmla="*/ 38 w 128"/>
                <a:gd name="T3" fmla="*/ 22 h 127"/>
                <a:gd name="T4" fmla="*/ 82 w 128"/>
                <a:gd name="T5" fmla="*/ 22 h 127"/>
                <a:gd name="T6" fmla="*/ 82 w 128"/>
                <a:gd name="T7" fmla="*/ 0 h 127"/>
                <a:gd name="T8" fmla="*/ 0 w 128"/>
                <a:gd name="T9" fmla="*/ 0 h 127"/>
                <a:gd name="T10" fmla="*/ 0 w 128"/>
                <a:gd name="T11" fmla="*/ 82 h 127"/>
                <a:gd name="T12" fmla="*/ 22 w 128"/>
                <a:gd name="T13" fmla="*/ 82 h 127"/>
                <a:gd name="T14" fmla="*/ 22 w 128"/>
                <a:gd name="T15" fmla="*/ 38 h 127"/>
                <a:gd name="T16" fmla="*/ 112 w 128"/>
                <a:gd name="T17" fmla="*/ 127 h 127"/>
                <a:gd name="T18" fmla="*/ 128 w 128"/>
                <a:gd name="T19" fmla="*/ 112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7">
                  <a:moveTo>
                    <a:pt x="128" y="112"/>
                  </a:moveTo>
                  <a:lnTo>
                    <a:pt x="38" y="22"/>
                  </a:lnTo>
                  <a:lnTo>
                    <a:pt x="82" y="22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82"/>
                  </a:lnTo>
                  <a:lnTo>
                    <a:pt x="22" y="82"/>
                  </a:lnTo>
                  <a:lnTo>
                    <a:pt x="22" y="38"/>
                  </a:lnTo>
                  <a:lnTo>
                    <a:pt x="112" y="127"/>
                  </a:lnTo>
                  <a:lnTo>
                    <a:pt x="128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94" name="Freeform 90">
              <a:extLst>
                <a:ext uri="{FF2B5EF4-FFF2-40B4-BE49-F238E27FC236}">
                  <a16:creationId xmlns:a16="http://schemas.microsoft.com/office/drawing/2014/main" id="{AD3E9A45-BE6A-BA31-4395-A841383C930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5" y="3670"/>
              <a:ext cx="38" cy="37"/>
            </a:xfrm>
            <a:custGeom>
              <a:avLst/>
              <a:gdLst>
                <a:gd name="T0" fmla="*/ 16 w 38"/>
                <a:gd name="T1" fmla="*/ 0 h 37"/>
                <a:gd name="T2" fmla="*/ 0 w 38"/>
                <a:gd name="T3" fmla="*/ 15 h 37"/>
                <a:gd name="T4" fmla="*/ 23 w 38"/>
                <a:gd name="T5" fmla="*/ 37 h 37"/>
                <a:gd name="T6" fmla="*/ 38 w 38"/>
                <a:gd name="T7" fmla="*/ 22 h 37"/>
                <a:gd name="T8" fmla="*/ 16 w 38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7">
                  <a:moveTo>
                    <a:pt x="16" y="0"/>
                  </a:moveTo>
                  <a:lnTo>
                    <a:pt x="0" y="15"/>
                  </a:lnTo>
                  <a:lnTo>
                    <a:pt x="23" y="37"/>
                  </a:lnTo>
                  <a:lnTo>
                    <a:pt x="38" y="22"/>
                  </a:lnTo>
                  <a:lnTo>
                    <a:pt x="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95" name="Freeform 91">
              <a:extLst>
                <a:ext uri="{FF2B5EF4-FFF2-40B4-BE49-F238E27FC236}">
                  <a16:creationId xmlns:a16="http://schemas.microsoft.com/office/drawing/2014/main" id="{1F914851-B7E6-1FDC-E419-D0150A4AE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9" y="3644"/>
              <a:ext cx="37" cy="37"/>
            </a:xfrm>
            <a:custGeom>
              <a:avLst/>
              <a:gdLst>
                <a:gd name="T0" fmla="*/ 16 w 37"/>
                <a:gd name="T1" fmla="*/ 0 h 37"/>
                <a:gd name="T2" fmla="*/ 0 w 37"/>
                <a:gd name="T3" fmla="*/ 15 h 37"/>
                <a:gd name="T4" fmla="*/ 22 w 37"/>
                <a:gd name="T5" fmla="*/ 37 h 37"/>
                <a:gd name="T6" fmla="*/ 37 w 37"/>
                <a:gd name="T7" fmla="*/ 21 h 37"/>
                <a:gd name="T8" fmla="*/ 16 w 37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16" y="0"/>
                  </a:moveTo>
                  <a:lnTo>
                    <a:pt x="0" y="15"/>
                  </a:lnTo>
                  <a:lnTo>
                    <a:pt x="22" y="37"/>
                  </a:lnTo>
                  <a:lnTo>
                    <a:pt x="37" y="21"/>
                  </a:lnTo>
                  <a:lnTo>
                    <a:pt x="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96" name="Freeform 92">
              <a:extLst>
                <a:ext uri="{FF2B5EF4-FFF2-40B4-BE49-F238E27FC236}">
                  <a16:creationId xmlns:a16="http://schemas.microsoft.com/office/drawing/2014/main" id="{36F47D31-7B2F-E77D-E1FF-A520E09E7B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4" y="2958"/>
              <a:ext cx="161" cy="160"/>
            </a:xfrm>
            <a:custGeom>
              <a:avLst/>
              <a:gdLst>
                <a:gd name="T0" fmla="*/ 222 w 444"/>
                <a:gd name="T1" fmla="*/ 444 h 444"/>
                <a:gd name="T2" fmla="*/ 444 w 444"/>
                <a:gd name="T3" fmla="*/ 222 h 444"/>
                <a:gd name="T4" fmla="*/ 222 w 444"/>
                <a:gd name="T5" fmla="*/ 0 h 444"/>
                <a:gd name="T6" fmla="*/ 0 w 444"/>
                <a:gd name="T7" fmla="*/ 222 h 444"/>
                <a:gd name="T8" fmla="*/ 222 w 444"/>
                <a:gd name="T9" fmla="*/ 444 h 444"/>
                <a:gd name="T10" fmla="*/ 56 w 444"/>
                <a:gd name="T11" fmla="*/ 222 h 444"/>
                <a:gd name="T12" fmla="*/ 222 w 444"/>
                <a:gd name="T13" fmla="*/ 56 h 444"/>
                <a:gd name="T14" fmla="*/ 388 w 444"/>
                <a:gd name="T15" fmla="*/ 222 h 444"/>
                <a:gd name="T16" fmla="*/ 222 w 444"/>
                <a:gd name="T17" fmla="*/ 388 h 444"/>
                <a:gd name="T18" fmla="*/ 56 w 444"/>
                <a:gd name="T19" fmla="*/ 222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444">
                  <a:moveTo>
                    <a:pt x="222" y="444"/>
                  </a:moveTo>
                  <a:cubicBezTo>
                    <a:pt x="345" y="444"/>
                    <a:pt x="444" y="345"/>
                    <a:pt x="444" y="222"/>
                  </a:cubicBezTo>
                  <a:cubicBezTo>
                    <a:pt x="444" y="100"/>
                    <a:pt x="345" y="0"/>
                    <a:pt x="222" y="0"/>
                  </a:cubicBezTo>
                  <a:cubicBezTo>
                    <a:pt x="100" y="0"/>
                    <a:pt x="0" y="100"/>
                    <a:pt x="0" y="222"/>
                  </a:cubicBezTo>
                  <a:cubicBezTo>
                    <a:pt x="0" y="345"/>
                    <a:pt x="100" y="444"/>
                    <a:pt x="222" y="444"/>
                  </a:cubicBezTo>
                  <a:close/>
                  <a:moveTo>
                    <a:pt x="56" y="222"/>
                  </a:moveTo>
                  <a:cubicBezTo>
                    <a:pt x="56" y="130"/>
                    <a:pt x="131" y="56"/>
                    <a:pt x="222" y="56"/>
                  </a:cubicBezTo>
                  <a:cubicBezTo>
                    <a:pt x="314" y="56"/>
                    <a:pt x="388" y="130"/>
                    <a:pt x="388" y="222"/>
                  </a:cubicBezTo>
                  <a:cubicBezTo>
                    <a:pt x="388" y="314"/>
                    <a:pt x="314" y="388"/>
                    <a:pt x="222" y="388"/>
                  </a:cubicBezTo>
                  <a:cubicBezTo>
                    <a:pt x="131" y="388"/>
                    <a:pt x="56" y="314"/>
                    <a:pt x="56" y="2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97" name="Freeform 93">
              <a:extLst>
                <a:ext uri="{FF2B5EF4-FFF2-40B4-BE49-F238E27FC236}">
                  <a16:creationId xmlns:a16="http://schemas.microsoft.com/office/drawing/2014/main" id="{3BF4DEAD-1C60-7736-07E2-8A05FCF68B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7" y="3130"/>
              <a:ext cx="275" cy="638"/>
            </a:xfrm>
            <a:custGeom>
              <a:avLst/>
              <a:gdLst>
                <a:gd name="T0" fmla="*/ 519 w 760"/>
                <a:gd name="T1" fmla="*/ 0 h 1767"/>
                <a:gd name="T2" fmla="*/ 242 w 760"/>
                <a:gd name="T3" fmla="*/ 0 h 1767"/>
                <a:gd name="T4" fmla="*/ 0 w 760"/>
                <a:gd name="T5" fmla="*/ 241 h 1767"/>
                <a:gd name="T6" fmla="*/ 0 w 760"/>
                <a:gd name="T7" fmla="*/ 827 h 1767"/>
                <a:gd name="T8" fmla="*/ 30 w 760"/>
                <a:gd name="T9" fmla="*/ 899 h 1767"/>
                <a:gd name="T10" fmla="*/ 120 w 760"/>
                <a:gd name="T11" fmla="*/ 989 h 1767"/>
                <a:gd name="T12" fmla="*/ 159 w 760"/>
                <a:gd name="T13" fmla="*/ 1763 h 1767"/>
                <a:gd name="T14" fmla="*/ 159 w 760"/>
                <a:gd name="T15" fmla="*/ 1767 h 1767"/>
                <a:gd name="T16" fmla="*/ 587 w 760"/>
                <a:gd name="T17" fmla="*/ 1767 h 1767"/>
                <a:gd name="T18" fmla="*/ 638 w 760"/>
                <a:gd name="T19" fmla="*/ 991 h 1767"/>
                <a:gd name="T20" fmla="*/ 730 w 760"/>
                <a:gd name="T21" fmla="*/ 899 h 1767"/>
                <a:gd name="T22" fmla="*/ 760 w 760"/>
                <a:gd name="T23" fmla="*/ 827 h 1767"/>
                <a:gd name="T24" fmla="*/ 760 w 760"/>
                <a:gd name="T25" fmla="*/ 241 h 1767"/>
                <a:gd name="T26" fmla="*/ 519 w 760"/>
                <a:gd name="T27" fmla="*/ 0 h 1767"/>
                <a:gd name="T28" fmla="*/ 650 w 760"/>
                <a:gd name="T29" fmla="*/ 817 h 1767"/>
                <a:gd name="T30" fmla="*/ 650 w 760"/>
                <a:gd name="T31" fmla="*/ 812 h 1767"/>
                <a:gd name="T32" fmla="*/ 594 w 760"/>
                <a:gd name="T33" fmla="*/ 809 h 1767"/>
                <a:gd name="T34" fmla="*/ 535 w 760"/>
                <a:gd name="T35" fmla="*/ 1711 h 1767"/>
                <a:gd name="T36" fmla="*/ 408 w 760"/>
                <a:gd name="T37" fmla="*/ 1711 h 1767"/>
                <a:gd name="T38" fmla="*/ 408 w 760"/>
                <a:gd name="T39" fmla="*/ 1109 h 1767"/>
                <a:gd name="T40" fmla="*/ 352 w 760"/>
                <a:gd name="T41" fmla="*/ 1109 h 1767"/>
                <a:gd name="T42" fmla="*/ 352 w 760"/>
                <a:gd name="T43" fmla="*/ 1711 h 1767"/>
                <a:gd name="T44" fmla="*/ 212 w 760"/>
                <a:gd name="T45" fmla="*/ 1711 h 1767"/>
                <a:gd name="T46" fmla="*/ 167 w 760"/>
                <a:gd name="T47" fmla="*/ 813 h 1767"/>
                <a:gd name="T48" fmla="*/ 166 w 760"/>
                <a:gd name="T49" fmla="*/ 809 h 1767"/>
                <a:gd name="T50" fmla="*/ 111 w 760"/>
                <a:gd name="T51" fmla="*/ 812 h 1767"/>
                <a:gd name="T52" fmla="*/ 115 w 760"/>
                <a:gd name="T53" fmla="*/ 906 h 1767"/>
                <a:gd name="T54" fmla="*/ 70 w 760"/>
                <a:gd name="T55" fmla="*/ 860 h 1767"/>
                <a:gd name="T56" fmla="*/ 56 w 760"/>
                <a:gd name="T57" fmla="*/ 827 h 1767"/>
                <a:gd name="T58" fmla="*/ 56 w 760"/>
                <a:gd name="T59" fmla="*/ 241 h 1767"/>
                <a:gd name="T60" fmla="*/ 242 w 760"/>
                <a:gd name="T61" fmla="*/ 55 h 1767"/>
                <a:gd name="T62" fmla="*/ 519 w 760"/>
                <a:gd name="T63" fmla="*/ 55 h 1767"/>
                <a:gd name="T64" fmla="*/ 705 w 760"/>
                <a:gd name="T65" fmla="*/ 241 h 1767"/>
                <a:gd name="T66" fmla="*/ 705 w 760"/>
                <a:gd name="T67" fmla="*/ 827 h 1767"/>
                <a:gd name="T68" fmla="*/ 691 w 760"/>
                <a:gd name="T69" fmla="*/ 860 h 1767"/>
                <a:gd name="T70" fmla="*/ 644 w 760"/>
                <a:gd name="T71" fmla="*/ 907 h 1767"/>
                <a:gd name="T72" fmla="*/ 650 w 760"/>
                <a:gd name="T73" fmla="*/ 817 h 1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60" h="1767">
                  <a:moveTo>
                    <a:pt x="519" y="0"/>
                  </a:moveTo>
                  <a:cubicBezTo>
                    <a:pt x="242" y="0"/>
                    <a:pt x="242" y="0"/>
                    <a:pt x="242" y="0"/>
                  </a:cubicBezTo>
                  <a:cubicBezTo>
                    <a:pt x="108" y="0"/>
                    <a:pt x="0" y="108"/>
                    <a:pt x="0" y="241"/>
                  </a:cubicBezTo>
                  <a:cubicBezTo>
                    <a:pt x="0" y="827"/>
                    <a:pt x="0" y="827"/>
                    <a:pt x="0" y="827"/>
                  </a:cubicBezTo>
                  <a:cubicBezTo>
                    <a:pt x="0" y="854"/>
                    <a:pt x="11" y="880"/>
                    <a:pt x="30" y="899"/>
                  </a:cubicBezTo>
                  <a:cubicBezTo>
                    <a:pt x="120" y="989"/>
                    <a:pt x="120" y="989"/>
                    <a:pt x="120" y="989"/>
                  </a:cubicBezTo>
                  <a:cubicBezTo>
                    <a:pt x="159" y="1763"/>
                    <a:pt x="159" y="1763"/>
                    <a:pt x="159" y="1763"/>
                  </a:cubicBezTo>
                  <a:cubicBezTo>
                    <a:pt x="159" y="1767"/>
                    <a:pt x="159" y="1767"/>
                    <a:pt x="159" y="1767"/>
                  </a:cubicBezTo>
                  <a:cubicBezTo>
                    <a:pt x="587" y="1767"/>
                    <a:pt x="587" y="1767"/>
                    <a:pt x="587" y="1767"/>
                  </a:cubicBezTo>
                  <a:cubicBezTo>
                    <a:pt x="638" y="991"/>
                    <a:pt x="638" y="991"/>
                    <a:pt x="638" y="991"/>
                  </a:cubicBezTo>
                  <a:cubicBezTo>
                    <a:pt x="730" y="899"/>
                    <a:pt x="730" y="899"/>
                    <a:pt x="730" y="899"/>
                  </a:cubicBezTo>
                  <a:cubicBezTo>
                    <a:pt x="750" y="880"/>
                    <a:pt x="760" y="854"/>
                    <a:pt x="760" y="827"/>
                  </a:cubicBezTo>
                  <a:cubicBezTo>
                    <a:pt x="760" y="241"/>
                    <a:pt x="760" y="241"/>
                    <a:pt x="760" y="241"/>
                  </a:cubicBezTo>
                  <a:cubicBezTo>
                    <a:pt x="760" y="108"/>
                    <a:pt x="652" y="0"/>
                    <a:pt x="519" y="0"/>
                  </a:cubicBezTo>
                  <a:close/>
                  <a:moveTo>
                    <a:pt x="650" y="817"/>
                  </a:moveTo>
                  <a:cubicBezTo>
                    <a:pt x="650" y="812"/>
                    <a:pt x="650" y="812"/>
                    <a:pt x="650" y="812"/>
                  </a:cubicBezTo>
                  <a:cubicBezTo>
                    <a:pt x="594" y="809"/>
                    <a:pt x="594" y="809"/>
                    <a:pt x="594" y="809"/>
                  </a:cubicBezTo>
                  <a:cubicBezTo>
                    <a:pt x="535" y="1711"/>
                    <a:pt x="535" y="1711"/>
                    <a:pt x="535" y="1711"/>
                  </a:cubicBezTo>
                  <a:cubicBezTo>
                    <a:pt x="408" y="1711"/>
                    <a:pt x="408" y="1711"/>
                    <a:pt x="408" y="1711"/>
                  </a:cubicBezTo>
                  <a:cubicBezTo>
                    <a:pt x="408" y="1109"/>
                    <a:pt x="408" y="1109"/>
                    <a:pt x="408" y="1109"/>
                  </a:cubicBezTo>
                  <a:cubicBezTo>
                    <a:pt x="352" y="1109"/>
                    <a:pt x="352" y="1109"/>
                    <a:pt x="352" y="1109"/>
                  </a:cubicBezTo>
                  <a:cubicBezTo>
                    <a:pt x="352" y="1711"/>
                    <a:pt x="352" y="1711"/>
                    <a:pt x="352" y="1711"/>
                  </a:cubicBezTo>
                  <a:cubicBezTo>
                    <a:pt x="212" y="1711"/>
                    <a:pt x="212" y="1711"/>
                    <a:pt x="212" y="1711"/>
                  </a:cubicBezTo>
                  <a:cubicBezTo>
                    <a:pt x="167" y="813"/>
                    <a:pt x="167" y="813"/>
                    <a:pt x="167" y="813"/>
                  </a:cubicBezTo>
                  <a:cubicBezTo>
                    <a:pt x="166" y="809"/>
                    <a:pt x="166" y="809"/>
                    <a:pt x="166" y="809"/>
                  </a:cubicBezTo>
                  <a:cubicBezTo>
                    <a:pt x="111" y="812"/>
                    <a:pt x="111" y="812"/>
                    <a:pt x="111" y="812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70" y="860"/>
                    <a:pt x="70" y="860"/>
                    <a:pt x="70" y="860"/>
                  </a:cubicBezTo>
                  <a:cubicBezTo>
                    <a:pt x="61" y="851"/>
                    <a:pt x="56" y="839"/>
                    <a:pt x="56" y="827"/>
                  </a:cubicBezTo>
                  <a:cubicBezTo>
                    <a:pt x="56" y="241"/>
                    <a:pt x="56" y="241"/>
                    <a:pt x="56" y="241"/>
                  </a:cubicBezTo>
                  <a:cubicBezTo>
                    <a:pt x="56" y="139"/>
                    <a:pt x="139" y="55"/>
                    <a:pt x="242" y="55"/>
                  </a:cubicBezTo>
                  <a:cubicBezTo>
                    <a:pt x="519" y="55"/>
                    <a:pt x="519" y="55"/>
                    <a:pt x="519" y="55"/>
                  </a:cubicBezTo>
                  <a:cubicBezTo>
                    <a:pt x="621" y="55"/>
                    <a:pt x="705" y="139"/>
                    <a:pt x="705" y="241"/>
                  </a:cubicBezTo>
                  <a:cubicBezTo>
                    <a:pt x="705" y="827"/>
                    <a:pt x="705" y="827"/>
                    <a:pt x="705" y="827"/>
                  </a:cubicBezTo>
                  <a:cubicBezTo>
                    <a:pt x="705" y="839"/>
                    <a:pt x="700" y="851"/>
                    <a:pt x="691" y="860"/>
                  </a:cubicBezTo>
                  <a:cubicBezTo>
                    <a:pt x="644" y="907"/>
                    <a:pt x="644" y="907"/>
                    <a:pt x="644" y="907"/>
                  </a:cubicBezTo>
                  <a:lnTo>
                    <a:pt x="650" y="8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98" name="Rectangle 94">
              <a:extLst>
                <a:ext uri="{FF2B5EF4-FFF2-40B4-BE49-F238E27FC236}">
                  <a16:creationId xmlns:a16="http://schemas.microsoft.com/office/drawing/2014/main" id="{9F81DC60-FF8E-8742-0AD1-02FA016C5E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4" y="3213"/>
              <a:ext cx="21" cy="2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99" name="Rectangle 95">
              <a:extLst>
                <a:ext uri="{FF2B5EF4-FFF2-40B4-BE49-F238E27FC236}">
                  <a16:creationId xmlns:a16="http://schemas.microsoft.com/office/drawing/2014/main" id="{E7FD6949-2F78-80EA-64EB-C7C8E6045F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4" y="3285"/>
              <a:ext cx="21" cy="2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300" name="Rectangle 96">
              <a:extLst>
                <a:ext uri="{FF2B5EF4-FFF2-40B4-BE49-F238E27FC236}">
                  <a16:creationId xmlns:a16="http://schemas.microsoft.com/office/drawing/2014/main" id="{F7DE2E78-9D9B-56A6-82A8-36D0BB906E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4" y="3357"/>
              <a:ext cx="21" cy="2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sp>
        <p:nvSpPr>
          <p:cNvPr id="134" name="Foliennummernplatzhalter 5">
            <a:extLst>
              <a:ext uri="{FF2B5EF4-FFF2-40B4-BE49-F238E27FC236}">
                <a16:creationId xmlns:a16="http://schemas.microsoft.com/office/drawing/2014/main" id="{450CD5D3-4CB2-00FB-30DF-E90186C0FF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7221" y="6471244"/>
            <a:ext cx="663066" cy="180000"/>
          </a:xfrm>
        </p:spPr>
        <p:txBody>
          <a:bodyPr/>
          <a:lstStyle/>
          <a:p>
            <a:r>
              <a:rPr lang="es-ES" noProof="0"/>
              <a:t>Page </a:t>
            </a:r>
            <a:fld id="{F1BC30E3-FFE5-4B91-AA19-87A149EBB9EE}" type="slidenum">
              <a:rPr lang="es-ES" noProof="0" smtClean="0"/>
              <a:pPr/>
              <a:t>23</a:t>
            </a:fld>
            <a:endParaRPr lang="es-ES" noProof="0"/>
          </a:p>
        </p:txBody>
      </p:sp>
      <p:sp>
        <p:nvSpPr>
          <p:cNvPr id="135" name="Fußzeilenplatzhalter 4">
            <a:extLst>
              <a:ext uri="{FF2B5EF4-FFF2-40B4-BE49-F238E27FC236}">
                <a16:creationId xmlns:a16="http://schemas.microsoft.com/office/drawing/2014/main" id="{10BC0659-3921-7BE2-4DE6-D802E4443D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39188" y="6471244"/>
            <a:ext cx="3086100" cy="180000"/>
          </a:xfrm>
        </p:spPr>
        <p:txBody>
          <a:bodyPr/>
          <a:lstStyle/>
          <a:p>
            <a:r>
              <a:rPr lang="es-ES" noProof="0"/>
              <a:t>EY EW PPT </a:t>
            </a:r>
            <a:r>
              <a:rPr lang="es-ES" noProof="0" err="1"/>
              <a:t>Gallery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324120345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93989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93DAA3AA-04DA-4F4C-84DD-B3CEDDC5DA84}"/>
              </a:ext>
            </a:extLst>
          </p:cNvPr>
          <p:cNvSpPr txBox="1">
            <a:spLocks/>
          </p:cNvSpPr>
          <p:nvPr/>
        </p:nvSpPr>
        <p:spPr>
          <a:xfrm>
            <a:off x="-133171" y="509371"/>
            <a:ext cx="5220000" cy="685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55000" b="1" kern="1200">
                <a:solidFill>
                  <a:schemeClr val="bg2">
                    <a:lumMod val="20000"/>
                    <a:lumOff val="80000"/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216000" marR="0" indent="-2160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charset="0"/>
              <a:buChar char="•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200" marR="0" indent="-231775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>
                <a:tab pos="231775" algn="l"/>
              </a:tabLst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marR="0" indent="-230188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2338" marR="0" indent="-2286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71691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634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578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522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s-ES" sz="50000" noProof="0">
                <a:solidFill>
                  <a:schemeClr val="bg1">
                    <a:alpha val="30000"/>
                  </a:schemeClr>
                </a:solidFill>
                <a:latin typeface="EYInterstate Light" panose="02000506000000020004" pitchFamily="2" charset="0"/>
              </a:rPr>
              <a:t>1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48D865-6F23-464E-93FA-3D35CC408C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s-ES" noProof="0"/>
              <a:t>¿Quienes somos?</a:t>
            </a:r>
          </a:p>
        </p:txBody>
      </p:sp>
    </p:spTree>
    <p:extLst>
      <p:ext uri="{BB962C8B-B14F-4D97-AF65-F5344CB8AC3E}">
        <p14:creationId xmlns:p14="http://schemas.microsoft.com/office/powerpoint/2010/main" val="19176223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>
            <a:extLst>
              <a:ext uri="{FF2B5EF4-FFF2-40B4-BE49-F238E27FC236}">
                <a16:creationId xmlns:a16="http://schemas.microsoft.com/office/drawing/2014/main" id="{543B0914-B98F-4A34-BA35-DD0D169EE81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48" cy="6858000"/>
          </a:xfrm>
          <a:prstGeom prst="rect">
            <a:avLst/>
          </a:prstGeom>
        </p:spPr>
      </p:pic>
      <p:sp>
        <p:nvSpPr>
          <p:cNvPr id="25" name="Rectangle 17">
            <a:extLst>
              <a:ext uri="{FF2B5EF4-FFF2-40B4-BE49-F238E27FC236}">
                <a16:creationId xmlns:a16="http://schemas.microsoft.com/office/drawing/2014/main" id="{5BAC03A6-5388-48A9-8DE8-EDC78C3C40A4}"/>
              </a:ext>
            </a:extLst>
          </p:cNvPr>
          <p:cNvSpPr>
            <a:spLocks/>
          </p:cNvSpPr>
          <p:nvPr/>
        </p:nvSpPr>
        <p:spPr>
          <a:xfrm>
            <a:off x="0" y="1"/>
            <a:ext cx="12198350" cy="685800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83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4" name="Rectangle 20">
            <a:extLst>
              <a:ext uri="{FF2B5EF4-FFF2-40B4-BE49-F238E27FC236}">
                <a16:creationId xmlns:a16="http://schemas.microsoft.com/office/drawing/2014/main" id="{9976A4B8-0C13-4213-BE23-5D23CBDD21A7}"/>
              </a:ext>
            </a:extLst>
          </p:cNvPr>
          <p:cNvSpPr/>
          <p:nvPr/>
        </p:nvSpPr>
        <p:spPr>
          <a:xfrm>
            <a:off x="6104237" y="5635845"/>
            <a:ext cx="3045659" cy="1222408"/>
          </a:xfrm>
          <a:prstGeom prst="rect">
            <a:avLst/>
          </a:prstGeom>
          <a:gradFill>
            <a:gsLst>
              <a:gs pos="0">
                <a:schemeClr val="tx1">
                  <a:alpha val="33000"/>
                </a:schemeClr>
              </a:gs>
              <a:gs pos="100000">
                <a:schemeClr val="tx1">
                  <a:alpha val="72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53C6B444-D0BE-4069-B138-C47E963D5A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53C6B444-D0BE-4069-B138-C47E963D5A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8">
            <a:extLst>
              <a:ext uri="{FF2B5EF4-FFF2-40B4-BE49-F238E27FC236}">
                <a16:creationId xmlns:a16="http://schemas.microsoft.com/office/drawing/2014/main" id="{14BB2214-74F0-4C29-AC48-CAC405C148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noProof="0"/>
              <a:t>Equipo</a:t>
            </a:r>
          </a:p>
        </p:txBody>
      </p:sp>
      <p:sp>
        <p:nvSpPr>
          <p:cNvPr id="17" name="Rectangle 17">
            <a:extLst>
              <a:ext uri="{FF2B5EF4-FFF2-40B4-BE49-F238E27FC236}">
                <a16:creationId xmlns:a16="http://schemas.microsoft.com/office/drawing/2014/main" id="{3C1D60EC-064C-4965-9809-030E3F998C74}"/>
              </a:ext>
            </a:extLst>
          </p:cNvPr>
          <p:cNvSpPr/>
          <p:nvPr/>
        </p:nvSpPr>
        <p:spPr>
          <a:xfrm>
            <a:off x="0" y="5635845"/>
            <a:ext cx="3047997" cy="1222408"/>
          </a:xfrm>
          <a:prstGeom prst="rect">
            <a:avLst/>
          </a:prstGeom>
          <a:gradFill>
            <a:gsLst>
              <a:gs pos="0">
                <a:schemeClr val="tx1">
                  <a:alpha val="33000"/>
                </a:schemeClr>
              </a:gs>
              <a:gs pos="100000">
                <a:schemeClr val="tx1">
                  <a:alpha val="83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0" name="Rectangle 20">
            <a:extLst>
              <a:ext uri="{FF2B5EF4-FFF2-40B4-BE49-F238E27FC236}">
                <a16:creationId xmlns:a16="http://schemas.microsoft.com/office/drawing/2014/main" id="{828ABF8D-7476-4296-9E39-8D13A0AC4E8C}"/>
              </a:ext>
            </a:extLst>
          </p:cNvPr>
          <p:cNvSpPr/>
          <p:nvPr/>
        </p:nvSpPr>
        <p:spPr>
          <a:xfrm>
            <a:off x="9143998" y="5635845"/>
            <a:ext cx="3045659" cy="1222408"/>
          </a:xfrm>
          <a:prstGeom prst="rect">
            <a:avLst/>
          </a:prstGeom>
          <a:gradFill>
            <a:gsLst>
              <a:gs pos="0">
                <a:schemeClr val="tx1">
                  <a:alpha val="33000"/>
                </a:schemeClr>
              </a:gs>
              <a:gs pos="100000">
                <a:schemeClr val="tx1">
                  <a:alpha val="72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8" name="Rectangle 18">
            <a:extLst>
              <a:ext uri="{FF2B5EF4-FFF2-40B4-BE49-F238E27FC236}">
                <a16:creationId xmlns:a16="http://schemas.microsoft.com/office/drawing/2014/main" id="{71A314F3-66AD-45A8-A31D-3D5A78C2F26D}"/>
              </a:ext>
            </a:extLst>
          </p:cNvPr>
          <p:cNvSpPr/>
          <p:nvPr/>
        </p:nvSpPr>
        <p:spPr>
          <a:xfrm>
            <a:off x="3047997" y="5635845"/>
            <a:ext cx="3047997" cy="1222408"/>
          </a:xfrm>
          <a:prstGeom prst="rect">
            <a:avLst/>
          </a:prstGeom>
          <a:gradFill>
            <a:gsLst>
              <a:gs pos="0">
                <a:schemeClr val="tx1">
                  <a:alpha val="33000"/>
                </a:schemeClr>
              </a:gs>
              <a:gs pos="100000">
                <a:schemeClr val="tx1">
                  <a:alpha val="72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035A707C-39A4-443D-A831-5EC9A319D9E5}"/>
              </a:ext>
            </a:extLst>
          </p:cNvPr>
          <p:cNvCxnSpPr>
            <a:cxnSpLocks/>
          </p:cNvCxnSpPr>
          <p:nvPr/>
        </p:nvCxnSpPr>
        <p:spPr>
          <a:xfrm>
            <a:off x="3047997" y="0"/>
            <a:ext cx="0" cy="6858000"/>
          </a:xfrm>
          <a:prstGeom prst="line">
            <a:avLst/>
          </a:prstGeom>
          <a:noFill/>
          <a:ln w="19050" cap="sq" cmpd="sng" algn="ctr">
            <a:solidFill>
              <a:schemeClr val="bg1">
                <a:alpha val="50196"/>
              </a:schemeClr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FEAFE697-EA7B-4F8D-A767-BDA74D42B9F9}"/>
              </a:ext>
            </a:extLst>
          </p:cNvPr>
          <p:cNvCxnSpPr>
            <a:cxnSpLocks/>
          </p:cNvCxnSpPr>
          <p:nvPr/>
        </p:nvCxnSpPr>
        <p:spPr>
          <a:xfrm>
            <a:off x="6095994" y="0"/>
            <a:ext cx="0" cy="6858000"/>
          </a:xfrm>
          <a:prstGeom prst="line">
            <a:avLst/>
          </a:prstGeom>
          <a:noFill/>
          <a:ln w="19050" cap="sq" cmpd="sng" algn="ctr">
            <a:solidFill>
              <a:schemeClr val="bg1">
                <a:alpha val="50196"/>
              </a:schemeClr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B7705D79-5768-4894-AD99-1FFB034FCC5B}"/>
              </a:ext>
            </a:extLst>
          </p:cNvPr>
          <p:cNvCxnSpPr>
            <a:cxnSpLocks/>
          </p:cNvCxnSpPr>
          <p:nvPr/>
        </p:nvCxnSpPr>
        <p:spPr>
          <a:xfrm>
            <a:off x="9143998" y="0"/>
            <a:ext cx="0" cy="6858000"/>
          </a:xfrm>
          <a:prstGeom prst="line">
            <a:avLst/>
          </a:prstGeom>
          <a:noFill/>
          <a:ln w="19050" cap="sq" cmpd="sng" algn="ctr">
            <a:solidFill>
              <a:schemeClr val="bg1">
                <a:alpha val="50196"/>
              </a:schemeClr>
            </a:solidFill>
            <a:prstDash val="solid"/>
            <a:miter lim="800000"/>
            <a:tailEnd type="none"/>
          </a:ln>
          <a:effectLst/>
        </p:spPr>
      </p:cxnSp>
      <p:sp>
        <p:nvSpPr>
          <p:cNvPr id="16" name="Textfeld 4">
            <a:extLst>
              <a:ext uri="{FF2B5EF4-FFF2-40B4-BE49-F238E27FC236}">
                <a16:creationId xmlns:a16="http://schemas.microsoft.com/office/drawing/2014/main" id="{4D0D3E51-48D1-4667-8281-9A44C7E94000}"/>
              </a:ext>
            </a:extLst>
          </p:cNvPr>
          <p:cNvSpPr txBox="1"/>
          <p:nvPr/>
        </p:nvSpPr>
        <p:spPr bwMode="gray">
          <a:xfrm>
            <a:off x="3580139" y="4224925"/>
            <a:ext cx="763029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600" b="0" i="0" u="none" strike="noStrike" kern="0" cap="none" spc="0" normalizeH="0" baseline="0" noProof="0">
                <a:ln w="12700">
                  <a:noFill/>
                </a:ln>
                <a:solidFill>
                  <a:schemeClr val="bg1">
                    <a:alpha val="20000"/>
                  </a:scheme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2</a:t>
            </a:r>
          </a:p>
        </p:txBody>
      </p:sp>
      <p:sp>
        <p:nvSpPr>
          <p:cNvPr id="21" name="Textfeld 4">
            <a:extLst>
              <a:ext uri="{FF2B5EF4-FFF2-40B4-BE49-F238E27FC236}">
                <a16:creationId xmlns:a16="http://schemas.microsoft.com/office/drawing/2014/main" id="{C3814DFE-74B4-4D37-A459-9F0A4CE8EB88}"/>
              </a:ext>
            </a:extLst>
          </p:cNvPr>
          <p:cNvSpPr txBox="1"/>
          <p:nvPr/>
        </p:nvSpPr>
        <p:spPr bwMode="gray">
          <a:xfrm>
            <a:off x="6683907" y="4224925"/>
            <a:ext cx="763029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600" b="0" i="0" u="none" strike="noStrike" kern="0" cap="none" spc="0" normalizeH="0" baseline="0" noProof="0">
                <a:ln w="12700">
                  <a:noFill/>
                </a:ln>
                <a:solidFill>
                  <a:schemeClr val="bg1">
                    <a:alpha val="20000"/>
                  </a:scheme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3</a:t>
            </a:r>
          </a:p>
        </p:txBody>
      </p:sp>
      <p:sp>
        <p:nvSpPr>
          <p:cNvPr id="22" name="Textfeld 4">
            <a:extLst>
              <a:ext uri="{FF2B5EF4-FFF2-40B4-BE49-F238E27FC236}">
                <a16:creationId xmlns:a16="http://schemas.microsoft.com/office/drawing/2014/main" id="{79D0040D-3324-4CEE-87EF-8046C65FB4EA}"/>
              </a:ext>
            </a:extLst>
          </p:cNvPr>
          <p:cNvSpPr txBox="1"/>
          <p:nvPr/>
        </p:nvSpPr>
        <p:spPr bwMode="gray">
          <a:xfrm>
            <a:off x="9738259" y="4224925"/>
            <a:ext cx="763029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600" b="0" i="0" u="none" strike="noStrike" kern="0" cap="none" spc="0" normalizeH="0" baseline="0" noProof="0">
                <a:ln w="12700">
                  <a:noFill/>
                </a:ln>
                <a:solidFill>
                  <a:schemeClr val="bg1">
                    <a:alpha val="20000"/>
                  </a:scheme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4</a:t>
            </a:r>
          </a:p>
        </p:txBody>
      </p:sp>
      <p:sp>
        <p:nvSpPr>
          <p:cNvPr id="23" name="Textfeld 4">
            <a:extLst>
              <a:ext uri="{FF2B5EF4-FFF2-40B4-BE49-F238E27FC236}">
                <a16:creationId xmlns:a16="http://schemas.microsoft.com/office/drawing/2014/main" id="{6F47B8FB-8598-454F-833A-BAB0F022E54B}"/>
              </a:ext>
            </a:extLst>
          </p:cNvPr>
          <p:cNvSpPr txBox="1"/>
          <p:nvPr/>
        </p:nvSpPr>
        <p:spPr bwMode="gray">
          <a:xfrm>
            <a:off x="428706" y="4224925"/>
            <a:ext cx="606626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600" b="0" i="0" u="none" strike="noStrike" kern="0" cap="none" spc="0" normalizeH="0" baseline="0" noProof="0">
                <a:ln w="12700">
                  <a:noFill/>
                </a:ln>
                <a:solidFill>
                  <a:schemeClr val="bg1">
                    <a:alpha val="20000"/>
                  </a:schemeClr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1</a:t>
            </a:r>
            <a:endParaRPr kumimoji="0" lang="es-ES" sz="8000" b="0" i="0" u="none" strike="noStrike" kern="0" cap="none" spc="0" normalizeH="0" baseline="0" noProof="0">
              <a:ln w="12700">
                <a:noFill/>
              </a:ln>
              <a:solidFill>
                <a:schemeClr val="bg1">
                  <a:alpha val="20000"/>
                </a:schemeClr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7" name="Rectangle 31">
            <a:extLst>
              <a:ext uri="{FF2B5EF4-FFF2-40B4-BE49-F238E27FC236}">
                <a16:creationId xmlns:a16="http://schemas.microsoft.com/office/drawing/2014/main" id="{EE94F20F-0E59-4E02-892D-E0218FDE8965}"/>
              </a:ext>
            </a:extLst>
          </p:cNvPr>
          <p:cNvSpPr>
            <a:spLocks/>
          </p:cNvSpPr>
          <p:nvPr/>
        </p:nvSpPr>
        <p:spPr>
          <a:xfrm>
            <a:off x="3642258" y="5768660"/>
            <a:ext cx="2015591" cy="965714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000" b="1" noProof="0">
                <a:solidFill>
                  <a:schemeClr val="tx2"/>
                </a:solidFill>
                <a:latin typeface="EYInterstate Light"/>
              </a:rPr>
              <a:t>Analistas</a:t>
            </a:r>
            <a:endParaRPr kumimoji="0" lang="es-ES" sz="2000" b="1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>
              <a:lnSpc>
                <a:spcPct val="110000"/>
              </a:lnSpc>
              <a:defRPr/>
            </a:pPr>
            <a:r>
              <a:rPr lang="es-ES" sz="1200" noProof="0">
                <a:solidFill>
                  <a:schemeClr val="bg1"/>
                </a:solidFill>
                <a:latin typeface="EYInterstate Light"/>
              </a:rPr>
              <a:t>Conocimiento extenso en SQL y Excel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41" name="Rectangle 37">
            <a:extLst>
              <a:ext uri="{FF2B5EF4-FFF2-40B4-BE49-F238E27FC236}">
                <a16:creationId xmlns:a16="http://schemas.microsoft.com/office/drawing/2014/main" id="{9EF09277-2735-4596-8A41-88F4A6C80349}"/>
              </a:ext>
            </a:extLst>
          </p:cNvPr>
          <p:cNvSpPr>
            <a:spLocks/>
          </p:cNvSpPr>
          <p:nvPr/>
        </p:nvSpPr>
        <p:spPr>
          <a:xfrm>
            <a:off x="9738259" y="5768660"/>
            <a:ext cx="2015591" cy="934166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lvl="0">
              <a:lnSpc>
                <a:spcPct val="110000"/>
              </a:lnSpc>
              <a:defRPr/>
            </a:pPr>
            <a:r>
              <a:rPr lang="es-ES" sz="2000" b="1" noProof="0">
                <a:solidFill>
                  <a:schemeClr val="tx2"/>
                </a:solidFill>
                <a:latin typeface="EYInterstate Light"/>
              </a:rPr>
              <a:t>Críticos</a:t>
            </a:r>
            <a:br>
              <a:rPr kumimoji="0" lang="es-E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</a:b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Nos caracteriza nuestro pensamiento critico en cada proyecto que realizamos</a:t>
            </a: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43" name="Rectangle 25">
            <a:extLst>
              <a:ext uri="{FF2B5EF4-FFF2-40B4-BE49-F238E27FC236}">
                <a16:creationId xmlns:a16="http://schemas.microsoft.com/office/drawing/2014/main" id="{459F17DB-FE1C-491A-92C9-637CB7989C4B}"/>
              </a:ext>
            </a:extLst>
          </p:cNvPr>
          <p:cNvSpPr>
            <a:spLocks/>
          </p:cNvSpPr>
          <p:nvPr/>
        </p:nvSpPr>
        <p:spPr>
          <a:xfrm>
            <a:off x="605570" y="5768660"/>
            <a:ext cx="2015591" cy="934166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000" b="1" noProof="0" err="1">
                <a:solidFill>
                  <a:schemeClr val="tx2"/>
                </a:solidFill>
                <a:latin typeface="EYInterstate Light"/>
              </a:rPr>
              <a:t>Background</a:t>
            </a:r>
            <a:endParaRPr kumimoji="0" lang="es-ES" sz="2000" b="1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>
              <a:lnSpc>
                <a:spcPct val="110000"/>
              </a:lnSpc>
              <a:defRPr/>
            </a:pPr>
            <a:r>
              <a:rPr lang="es-ES" sz="1200" noProof="0">
                <a:solidFill>
                  <a:schemeClr val="bg1"/>
                </a:solidFill>
                <a:latin typeface="EYInterstate Light"/>
              </a:rPr>
              <a:t>Un equipo con un fuerte “</a:t>
            </a:r>
            <a:r>
              <a:rPr lang="es-ES" sz="1200" noProof="0" err="1">
                <a:solidFill>
                  <a:schemeClr val="bg1"/>
                </a:solidFill>
                <a:latin typeface="EYInterstate Light"/>
              </a:rPr>
              <a:t>backgroud</a:t>
            </a:r>
            <a:r>
              <a:rPr lang="es-ES" sz="1200" noProof="0">
                <a:solidFill>
                  <a:schemeClr val="bg1"/>
                </a:solidFill>
                <a:latin typeface="EYInterstate Light"/>
              </a:rPr>
              <a:t>” en ingeniería, marketing y empresa</a:t>
            </a:r>
          </a:p>
        </p:txBody>
      </p:sp>
      <p:sp>
        <p:nvSpPr>
          <p:cNvPr id="39" name="Rectangle 34">
            <a:extLst>
              <a:ext uri="{FF2B5EF4-FFF2-40B4-BE49-F238E27FC236}">
                <a16:creationId xmlns:a16="http://schemas.microsoft.com/office/drawing/2014/main" id="{641E2B59-97EB-4611-8465-93F6C91A4DDC}"/>
              </a:ext>
            </a:extLst>
          </p:cNvPr>
          <p:cNvSpPr>
            <a:spLocks/>
          </p:cNvSpPr>
          <p:nvPr/>
        </p:nvSpPr>
        <p:spPr>
          <a:xfrm>
            <a:off x="6690262" y="5768660"/>
            <a:ext cx="2015591" cy="934166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000" b="1" noProof="0">
                <a:solidFill>
                  <a:schemeClr val="tx2"/>
                </a:solidFill>
                <a:latin typeface="EYInterstate Light"/>
              </a:rPr>
              <a:t>Dinámico</a:t>
            </a:r>
            <a:endParaRPr kumimoji="0" lang="es-ES" sz="1400" b="1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lvl="0">
              <a:lnSpc>
                <a:spcPct val="110000"/>
              </a:lnSpc>
              <a:defRPr/>
            </a:pPr>
            <a:r>
              <a:rPr lang="es-ES" sz="1200" noProof="0">
                <a:solidFill>
                  <a:schemeClr val="bg1"/>
                </a:solidFill>
                <a:latin typeface="EYInterstate Light"/>
              </a:rPr>
              <a:t>Sabemos trabajar conjuntamente y sacar el mejor trabajo posible</a:t>
            </a:r>
          </a:p>
        </p:txBody>
      </p:sp>
      <p:sp>
        <p:nvSpPr>
          <p:cNvPr id="27" name="Line 10">
            <a:extLst>
              <a:ext uri="{FF2B5EF4-FFF2-40B4-BE49-F238E27FC236}">
                <a16:creationId xmlns:a16="http://schemas.microsoft.com/office/drawing/2014/main" id="{4F14E5CC-98E9-4203-8977-64C44013697B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918" y="907750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ES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32101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1D41B4A4-660C-A124-1791-B874B33BA0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068E407D-B86B-AA6C-43DC-00C09F19BDA3}"/>
              </a:ext>
            </a:extLst>
          </p:cNvPr>
          <p:cNvSpPr txBox="1">
            <a:spLocks/>
          </p:cNvSpPr>
          <p:nvPr/>
        </p:nvSpPr>
        <p:spPr>
          <a:xfrm>
            <a:off x="-133171" y="509371"/>
            <a:ext cx="5220000" cy="685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55000" b="1" kern="1200">
                <a:solidFill>
                  <a:schemeClr val="bg2">
                    <a:lumMod val="20000"/>
                    <a:lumOff val="80000"/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216000" marR="0" indent="-2160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charset="0"/>
              <a:buChar char="•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200" marR="0" indent="-231775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>
                <a:tab pos="231775" algn="l"/>
              </a:tabLst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marR="0" indent="-230188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2338" marR="0" indent="-2286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71691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634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578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522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s-ES" sz="50000" noProof="0">
                <a:solidFill>
                  <a:schemeClr val="bg1">
                    <a:alpha val="30000"/>
                  </a:schemeClr>
                </a:solidFill>
                <a:latin typeface="EYInterstate Light" panose="02000506000000020004" pitchFamily="2" charset="0"/>
              </a:rPr>
              <a:t>2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AFFB18-A5EC-B60E-2493-51B5903F5F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s-ES" noProof="0"/>
              <a:t>Introducción</a:t>
            </a:r>
          </a:p>
        </p:txBody>
      </p:sp>
    </p:spTree>
    <p:extLst>
      <p:ext uri="{BB962C8B-B14F-4D97-AF65-F5344CB8AC3E}">
        <p14:creationId xmlns:p14="http://schemas.microsoft.com/office/powerpoint/2010/main" val="26941944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18" progId="TCLayout.ActiveDocument.1">
                  <p:embed/>
                </p:oleObj>
              </mc:Choice>
              <mc:Fallback>
                <p:oleObj name="think-cell Folie" r:id="rId5" imgW="352" imgH="318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0" cap="none" spc="0" normalizeH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659B74E6-38D1-49A8-9E88-1C4AAB240B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noProof="0" err="1"/>
              <a:t>Intoducción</a:t>
            </a:r>
            <a:endParaRPr lang="es-ES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550082-0BDE-4B00-A0C7-505D67374D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ES" noProof="0"/>
              <a:t>Page </a:t>
            </a:r>
            <a:fld id="{F1BC30E3-FFE5-4B91-AA19-87A149EBB9EE}" type="slidenum">
              <a:rPr lang="es-ES" noProof="0" smtClean="0"/>
              <a:pPr/>
              <a:t>6</a:t>
            </a:fld>
            <a:endParaRPr lang="es-E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D5B82EA-8734-428E-88E9-57C6D2055D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 noProof="0"/>
              <a:t>EY EW PPT </a:t>
            </a:r>
            <a:r>
              <a:rPr lang="es-ES" noProof="0" err="1"/>
              <a:t>Gallery</a:t>
            </a:r>
            <a:endParaRPr lang="es-ES" noProof="0"/>
          </a:p>
        </p:txBody>
      </p:sp>
      <p:pic>
        <p:nvPicPr>
          <p:cNvPr id="8" name="Picture 7" descr="A computer screen shot of a computer&#10;&#10;AI-generated content may be incorrect.">
            <a:extLst>
              <a:ext uri="{FF2B5EF4-FFF2-40B4-BE49-F238E27FC236}">
                <a16:creationId xmlns:a16="http://schemas.microsoft.com/office/drawing/2014/main" id="{1FF5B788-F7B5-5BB5-6AA0-DB247F44C34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096" y="1154310"/>
            <a:ext cx="10399750" cy="4900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8374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909BE4E2-ADC4-09C0-D1B7-0CF923F2FD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7BF89096-2F84-5C72-C611-748F71AA1B8D}"/>
              </a:ext>
            </a:extLst>
          </p:cNvPr>
          <p:cNvSpPr txBox="1">
            <a:spLocks/>
          </p:cNvSpPr>
          <p:nvPr/>
        </p:nvSpPr>
        <p:spPr>
          <a:xfrm>
            <a:off x="-133171" y="509371"/>
            <a:ext cx="5220000" cy="685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55000" b="1" kern="1200">
                <a:solidFill>
                  <a:schemeClr val="bg2">
                    <a:lumMod val="20000"/>
                    <a:lumOff val="80000"/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216000" marR="0" indent="-2160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charset="0"/>
              <a:buChar char="•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200" marR="0" indent="-231775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>
                <a:tab pos="231775" algn="l"/>
              </a:tabLst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marR="0" indent="-230188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2338" marR="0" indent="-2286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71691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634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578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522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s-ES" sz="50000" noProof="0">
                <a:solidFill>
                  <a:schemeClr val="bg1">
                    <a:alpha val="30000"/>
                  </a:schemeClr>
                </a:solidFill>
                <a:latin typeface="EYInterstate Light" panose="02000506000000020004" pitchFamily="2" charset="0"/>
              </a:rPr>
              <a:t>3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9AF767-8CB0-373A-06B0-0BB5A810166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 defTabSz="1084046" fontAlgn="b">
              <a:spcAft>
                <a:spcPts val="0"/>
              </a:spcAft>
              <a:buClrTx/>
              <a:buSzTx/>
              <a:defRPr/>
            </a:pPr>
            <a:r>
              <a:rPr lang="es-ES" sz="3200" noProof="0"/>
              <a:t>¿Correlación de Géneros </a:t>
            </a:r>
            <a:r>
              <a:rPr lang="es-ES" sz="3200"/>
              <a:t>y Ventas</a:t>
            </a:r>
            <a:r>
              <a:rPr lang="es-ES" sz="3200" noProof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8728025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3A523720-C167-92F0-7FC9-516DD72DF6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643CBDB-0A84-860A-1D0A-977E41EA5F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18" progId="TCLayout.ActiveDocument.1">
                  <p:embed/>
                </p:oleObj>
              </mc:Choice>
              <mc:Fallback>
                <p:oleObj name="think-cell Folie" r:id="rId5" imgW="352" imgH="31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643CBDB-0A84-860A-1D0A-977E41EA5F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E28348B-CA7D-98B9-F965-3CC9F3A1E4C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0" cap="none" spc="0" normalizeH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A11A355-7438-4F0D-6235-7608D9663C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noProof="0"/>
              <a:t>Gráfico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35934A5-44BF-B23C-55A1-B6770F6DBA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ES" noProof="0"/>
              <a:t>Page </a:t>
            </a:r>
            <a:fld id="{F1BC30E3-FFE5-4B91-AA19-87A149EBB9EE}" type="slidenum">
              <a:rPr lang="es-ES" noProof="0" smtClean="0"/>
              <a:pPr/>
              <a:t>8</a:t>
            </a:fld>
            <a:endParaRPr lang="es-ES" noProof="0"/>
          </a:p>
        </p:txBody>
      </p:sp>
      <p:pic>
        <p:nvPicPr>
          <p:cNvPr id="13" name="Picture 12" descr="A graph with numbers and lines&#10;&#10;AI-generated content may be incorrect.">
            <a:extLst>
              <a:ext uri="{FF2B5EF4-FFF2-40B4-BE49-F238E27FC236}">
                <a16:creationId xmlns:a16="http://schemas.microsoft.com/office/drawing/2014/main" id="{E93E9E6C-86E8-596F-CF55-3939C3BE081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0287" y="1198127"/>
            <a:ext cx="9591929" cy="5370627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FC99659B-7F58-ACF7-8E94-7AE05F321816}"/>
              </a:ext>
            </a:extLst>
          </p:cNvPr>
          <p:cNvSpPr/>
          <p:nvPr/>
        </p:nvSpPr>
        <p:spPr>
          <a:xfrm>
            <a:off x="2860041" y="3643981"/>
            <a:ext cx="7680960" cy="128016"/>
          </a:xfrm>
          <a:prstGeom prst="rect">
            <a:avLst/>
          </a:prstGeom>
          <a:solidFill>
            <a:schemeClr val="tx1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B02D976-C86F-92C5-9445-FD51834F4CB9}"/>
              </a:ext>
            </a:extLst>
          </p:cNvPr>
          <p:cNvSpPr/>
          <p:nvPr/>
        </p:nvSpPr>
        <p:spPr>
          <a:xfrm rot="16200000" flipV="1">
            <a:off x="4910529" y="3741865"/>
            <a:ext cx="3708000" cy="128016"/>
          </a:xfrm>
          <a:prstGeom prst="rect">
            <a:avLst/>
          </a:prstGeom>
          <a:solidFill>
            <a:schemeClr val="tx1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C832E5-D2DB-8EB7-837F-4FBDBD8EA3FE}"/>
              </a:ext>
            </a:extLst>
          </p:cNvPr>
          <p:cNvSpPr txBox="1"/>
          <p:nvPr/>
        </p:nvSpPr>
        <p:spPr>
          <a:xfrm>
            <a:off x="3484881" y="2488894"/>
            <a:ext cx="2590800" cy="618067"/>
          </a:xfrm>
          <a:prstGeom prst="rect">
            <a:avLst/>
          </a:prstGeom>
          <a:solidFill>
            <a:schemeClr val="bg1"/>
          </a:solidFill>
          <a:ln w="12700" cap="sq">
            <a:noFill/>
            <a:miter lim="800000"/>
          </a:ln>
        </p:spPr>
        <p:txBody>
          <a:bodyPr wrap="square" lIns="0" tIns="0" rIns="0" bIns="0" rtlCol="0" anchor="ctr">
            <a:noAutofit/>
          </a:bodyPr>
          <a:lstStyle/>
          <a:p>
            <a:pPr algn="ctr" defTabSz="685434">
              <a:spcAft>
                <a:spcPts val="600"/>
              </a:spcAft>
              <a:buClr>
                <a:srgbClr val="FFE600"/>
              </a:buClr>
              <a:buSzPct val="80000"/>
            </a:pPr>
            <a:r>
              <a:rPr lang="en-US" sz="2800" b="1" kern="0" err="1">
                <a:solidFill>
                  <a:schemeClr val="bg2"/>
                </a:solidFill>
              </a:rPr>
              <a:t>Líderes</a:t>
            </a:r>
            <a:endParaRPr lang="es-ES" sz="1400" b="1" kern="0">
              <a:solidFill>
                <a:schemeClr val="bg2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3696EAD-5DC4-5B3E-4AAA-C0F3FD84FFDB}"/>
              </a:ext>
            </a:extLst>
          </p:cNvPr>
          <p:cNvSpPr txBox="1"/>
          <p:nvPr/>
        </p:nvSpPr>
        <p:spPr>
          <a:xfrm>
            <a:off x="7554976" y="2488894"/>
            <a:ext cx="2590800" cy="618067"/>
          </a:xfrm>
          <a:prstGeom prst="rect">
            <a:avLst/>
          </a:prstGeom>
          <a:solidFill>
            <a:schemeClr val="bg1"/>
          </a:solidFill>
          <a:ln w="12700" cap="sq">
            <a:noFill/>
            <a:miter lim="800000"/>
          </a:ln>
        </p:spPr>
        <p:txBody>
          <a:bodyPr wrap="square" lIns="0" tIns="0" rIns="0" bIns="0" rtlCol="0" anchor="ctr">
            <a:noAutofit/>
          </a:bodyPr>
          <a:lstStyle/>
          <a:p>
            <a:pPr algn="ctr" defTabSz="685434">
              <a:spcAft>
                <a:spcPts val="600"/>
              </a:spcAft>
              <a:buClr>
                <a:srgbClr val="FFE600"/>
              </a:buClr>
              <a:buSzPct val="80000"/>
            </a:pPr>
            <a:r>
              <a:rPr lang="en-US" sz="2800" b="1" kern="0" err="1">
                <a:solidFill>
                  <a:schemeClr val="bg2"/>
                </a:solidFill>
              </a:rPr>
              <a:t>Polivalentes</a:t>
            </a:r>
            <a:endParaRPr lang="es-ES" sz="1400" b="1" kern="0">
              <a:solidFill>
                <a:schemeClr val="bg2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9EFA777-1933-8986-4574-9A8A38CC5261}"/>
              </a:ext>
            </a:extLst>
          </p:cNvPr>
          <p:cNvSpPr txBox="1"/>
          <p:nvPr/>
        </p:nvSpPr>
        <p:spPr>
          <a:xfrm>
            <a:off x="7554976" y="4490035"/>
            <a:ext cx="2590800" cy="618067"/>
          </a:xfrm>
          <a:prstGeom prst="rect">
            <a:avLst/>
          </a:prstGeom>
          <a:solidFill>
            <a:schemeClr val="bg1"/>
          </a:solidFill>
          <a:ln w="12700" cap="sq">
            <a:noFill/>
            <a:miter lim="800000"/>
          </a:ln>
        </p:spPr>
        <p:txBody>
          <a:bodyPr wrap="square" lIns="0" tIns="0" rIns="0" bIns="0" rtlCol="0" anchor="ctr">
            <a:noAutofit/>
          </a:bodyPr>
          <a:lstStyle/>
          <a:p>
            <a:pPr algn="ctr" defTabSz="685434">
              <a:spcAft>
                <a:spcPts val="600"/>
              </a:spcAft>
              <a:buClr>
                <a:srgbClr val="FFE600"/>
              </a:buClr>
              <a:buSzPct val="80000"/>
            </a:pPr>
            <a:r>
              <a:rPr lang="en-US" sz="2800" b="1" kern="0" err="1">
                <a:solidFill>
                  <a:schemeClr val="bg2"/>
                </a:solidFill>
              </a:rPr>
              <a:t>Inadaptados</a:t>
            </a:r>
            <a:endParaRPr lang="es-ES" sz="1400" b="1" kern="0">
              <a:solidFill>
                <a:schemeClr val="bg2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DA06C4D-AE40-F3DB-522B-3EF65DE7B24D}"/>
              </a:ext>
            </a:extLst>
          </p:cNvPr>
          <p:cNvSpPr txBox="1"/>
          <p:nvPr/>
        </p:nvSpPr>
        <p:spPr>
          <a:xfrm>
            <a:off x="3484881" y="4490035"/>
            <a:ext cx="2590800" cy="618067"/>
          </a:xfrm>
          <a:prstGeom prst="rect">
            <a:avLst/>
          </a:prstGeom>
          <a:solidFill>
            <a:schemeClr val="bg1"/>
          </a:solidFill>
          <a:ln w="12700" cap="sq">
            <a:noFill/>
            <a:miter lim="800000"/>
          </a:ln>
        </p:spPr>
        <p:txBody>
          <a:bodyPr wrap="square" lIns="0" tIns="0" rIns="0" bIns="0" rtlCol="0" anchor="ctr">
            <a:noAutofit/>
          </a:bodyPr>
          <a:lstStyle/>
          <a:p>
            <a:pPr algn="ctr" defTabSz="685434">
              <a:spcAft>
                <a:spcPts val="600"/>
              </a:spcAft>
              <a:buClr>
                <a:srgbClr val="FFE600"/>
              </a:buClr>
              <a:buSzPct val="80000"/>
            </a:pPr>
            <a:r>
              <a:rPr lang="en-US" sz="2800" b="1" kern="0">
                <a:solidFill>
                  <a:schemeClr val="bg2"/>
                </a:solidFill>
              </a:rPr>
              <a:t>General</a:t>
            </a:r>
            <a:endParaRPr lang="es-ES" sz="1400" b="1" ker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138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18" progId="TCLayout.ActiveDocument.1">
                  <p:embed/>
                </p:oleObj>
              </mc:Choice>
              <mc:Fallback>
                <p:oleObj name="think-cell Folie" r:id="rId5" imgW="352" imgH="318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0" cap="none" spc="0" normalizeH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8208920-C4DA-4261-A6FB-F4C339BCD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noProof="0"/>
              <a:t>SQL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5B8FE5C-B36C-42A5-B1F5-66FE663673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ES" noProof="0"/>
              <a:t>Page </a:t>
            </a:r>
            <a:fld id="{F1BC30E3-FFE5-4B91-AA19-87A149EBB9EE}" type="slidenum">
              <a:rPr lang="es-ES" noProof="0" smtClean="0"/>
              <a:pPr/>
              <a:t>9</a:t>
            </a:fld>
            <a:endParaRPr lang="es-ES" noProof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E99C3A98-3095-4440-80F0-B172C8188E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39188" y="6471244"/>
            <a:ext cx="3086100" cy="180000"/>
          </a:xfrm>
        </p:spPr>
        <p:txBody>
          <a:bodyPr/>
          <a:lstStyle/>
          <a:p>
            <a:r>
              <a:rPr lang="es-ES" noProof="0"/>
              <a:t>EY EW PPT </a:t>
            </a:r>
            <a:r>
              <a:rPr lang="es-ES" noProof="0" err="1"/>
              <a:t>Gallery</a:t>
            </a:r>
            <a:endParaRPr lang="es-ES" noProof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09C0770-6C61-835C-3AA1-C14DE7449A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5514" y="1216708"/>
            <a:ext cx="9589187" cy="244310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AFA47E8-0C51-F821-FC54-45CFA871395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0030" y="3806117"/>
            <a:ext cx="9584671" cy="2174059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308EB20D-7A3E-C12E-388B-832E079F6791}"/>
              </a:ext>
            </a:extLst>
          </p:cNvPr>
          <p:cNvGrpSpPr/>
          <p:nvPr/>
        </p:nvGrpSpPr>
        <p:grpSpPr>
          <a:xfrm>
            <a:off x="10261435" y="1702799"/>
            <a:ext cx="1658260" cy="1620182"/>
            <a:chOff x="6686484" y="1223357"/>
            <a:chExt cx="1895484" cy="189601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8A1E0636-2440-7B25-92D2-3D567FCF2D84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6686484" y="1223357"/>
              <a:ext cx="1895484" cy="1896018"/>
            </a:xfrm>
            <a:prstGeom prst="ellipse">
              <a:avLst/>
            </a:prstGeom>
            <a:solidFill>
              <a:schemeClr val="tx1"/>
            </a:solidFill>
            <a:ln w="19050">
              <a:solidFill>
                <a:schemeClr val="bg1"/>
              </a:solidFill>
            </a:ln>
          </p:spPr>
          <p:txBody>
            <a:bodyPr wrap="none" lIns="0" tIns="0" rIns="0" bIns="0" rtlCol="0" anchor="ctr" anchorCtr="0">
              <a:noAutofit/>
            </a:bodyPr>
            <a:lstStyle/>
            <a:p>
              <a:pPr algn="ctr"/>
              <a:endParaRPr lang="es-ES" b="1" noProof="0">
                <a:solidFill>
                  <a:schemeClr val="bg1"/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97AA45F-B2A3-8099-DFEA-C8AFACA35C60}"/>
                </a:ext>
              </a:extLst>
            </p:cNvPr>
            <p:cNvSpPr txBox="1">
              <a:spLocks/>
            </p:cNvSpPr>
            <p:nvPr/>
          </p:nvSpPr>
          <p:spPr>
            <a:xfrm>
              <a:off x="6772642" y="1302112"/>
              <a:ext cx="1723167" cy="1723653"/>
            </a:xfrm>
            <a:prstGeom prst="ellipse">
              <a:avLst/>
            </a:prstGeom>
            <a:solidFill>
              <a:schemeClr val="tx1">
                <a:lumMod val="60000"/>
                <a:lumOff val="40000"/>
              </a:schemeClr>
            </a:solidFill>
            <a:ln w="19050">
              <a:noFill/>
            </a:ln>
          </p:spPr>
          <p:txBody>
            <a:bodyPr wrap="none" lIns="0" tIns="0" rIns="0" bIns="0" rtlCol="0" anchor="ctr" anchorCtr="0">
              <a:no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</a:rPr>
                <a:t>T</a:t>
              </a:r>
              <a:r>
                <a:rPr lang="es-ES" b="1" err="1">
                  <a:solidFill>
                    <a:schemeClr val="bg1"/>
                  </a:solidFill>
                </a:rPr>
                <a:t>emporary</a:t>
              </a:r>
              <a:endParaRPr lang="es-ES" b="1">
                <a:solidFill>
                  <a:schemeClr val="bg1"/>
                </a:solidFill>
              </a:endParaRPr>
            </a:p>
            <a:p>
              <a:pPr algn="ctr"/>
              <a:r>
                <a:rPr lang="es-ES" b="1">
                  <a:solidFill>
                    <a:schemeClr val="bg1"/>
                  </a:solidFill>
                </a:rPr>
                <a:t> tables</a:t>
              </a:r>
              <a:endParaRPr lang="es-ES" b="1" noProof="0">
                <a:solidFill>
                  <a:schemeClr val="bg1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41227D9-10E6-DE88-28A9-248A7B19802F}"/>
              </a:ext>
            </a:extLst>
          </p:cNvPr>
          <p:cNvGrpSpPr/>
          <p:nvPr/>
        </p:nvGrpSpPr>
        <p:grpSpPr>
          <a:xfrm>
            <a:off x="10261435" y="3997266"/>
            <a:ext cx="1658260" cy="1620182"/>
            <a:chOff x="6686484" y="1223357"/>
            <a:chExt cx="1895484" cy="1896018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063BCB3-B83D-749E-55DB-0D7356DD3216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6686484" y="1223357"/>
              <a:ext cx="1895484" cy="1896018"/>
            </a:xfrm>
            <a:prstGeom prst="ellipse">
              <a:avLst/>
            </a:prstGeom>
            <a:solidFill>
              <a:schemeClr val="tx1"/>
            </a:solidFill>
            <a:ln w="19050">
              <a:solidFill>
                <a:schemeClr val="bg1"/>
              </a:solidFill>
            </a:ln>
          </p:spPr>
          <p:txBody>
            <a:bodyPr wrap="none" lIns="0" tIns="0" rIns="0" bIns="0" rtlCol="0" anchor="ctr" anchorCtr="0">
              <a:noAutofit/>
            </a:bodyPr>
            <a:lstStyle/>
            <a:p>
              <a:pPr algn="ctr"/>
              <a:endParaRPr lang="es-ES" b="1" noProof="0">
                <a:solidFill>
                  <a:schemeClr val="bg1"/>
                </a:solidFill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5388E79-EC3A-C5C2-E269-F8C6A01C5167}"/>
                </a:ext>
              </a:extLst>
            </p:cNvPr>
            <p:cNvSpPr txBox="1">
              <a:spLocks/>
            </p:cNvSpPr>
            <p:nvPr/>
          </p:nvSpPr>
          <p:spPr>
            <a:xfrm>
              <a:off x="6772642" y="1302112"/>
              <a:ext cx="1723167" cy="1723653"/>
            </a:xfrm>
            <a:prstGeom prst="ellipse">
              <a:avLst/>
            </a:prstGeom>
            <a:solidFill>
              <a:schemeClr val="tx1">
                <a:lumMod val="60000"/>
                <a:lumOff val="40000"/>
              </a:schemeClr>
            </a:solidFill>
            <a:ln w="19050">
              <a:noFill/>
            </a:ln>
          </p:spPr>
          <p:txBody>
            <a:bodyPr wrap="none" lIns="0" tIns="0" rIns="0" bIns="0" rtlCol="0" anchor="ctr" anchorCtr="0">
              <a:noAutofit/>
            </a:bodyPr>
            <a:lstStyle/>
            <a:p>
              <a:pPr algn="ctr"/>
              <a:r>
                <a:rPr lang="en-US" b="1" noProof="0">
                  <a:solidFill>
                    <a:schemeClr val="bg1"/>
                  </a:solidFill>
                </a:rPr>
                <a:t>JOIN</a:t>
              </a:r>
              <a:r>
                <a:rPr lang="en-US" b="1">
                  <a:solidFill>
                    <a:schemeClr val="bg1"/>
                  </a:solidFill>
                </a:rPr>
                <a:t>s</a:t>
              </a:r>
              <a:endParaRPr lang="es-ES" b="1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96816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2700577b-d3de-467d-a9b0-050efc349743&quot; IsConsolidated=&quot;False&quot; IsTopLevel=&quot;False&quot; Layer=&quot;Harvey 5/8 [5]&quot; Source=&quot;Harvey 8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2700577b-d3de-467d-a9b0-050efc349743&quot; IsConsolidated=&quot;False&quot; IsTopLevel=&quot;False&quot; Layer=&quot;Harvey 6/8 [6]&quot; Source=&quot;Harvey 8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2700577b-d3de-467d-a9b0-050efc349743&quot; IsConsolidated=&quot;False&quot; IsTopLevel=&quot;False&quot; Layer=&quot;Harvey 7/8 [7]&quot; Source=&quot;Harvey 8&quot; /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2700577b-d3de-467d-a9b0-050efc349743&quot; IsConsolidated=&quot;False&quot; IsTopLevel=&quot;False&quot; Layer=&quot;Harvey 8/8 [8]&quot; Source=&quot;Harvey 8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THXaJJnf4mTzCNxkiBm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9ejcgeCZ_2oaECBJvpU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Tia7dIOdBhlhb.PsOg1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9ejcgeCZ_2oaECBJvpU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9ejcgeCZ_2oaECBJvpU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btMLxoTBulTyE4ynvf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6ErCep08dkY.Ww7Mz2Z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btMLxoTBulTyE4ynvfR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btMLxoTBulTyE4ynvfR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btMLxoTBulTyE4ynvfR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btMLxoTBulTyE4ynvfR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btMLxoTBulTyE4ynvf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2700577b-d3de-467d-a9b0-050efc349743&quot; IsConsolidated=&quot;False&quot; IsTopLevel=&quot;False&quot; Layer=&quot;Harvey 8&quot; Source=&quot;Harvey 8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btMLxoTBulTyE4ynvfR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btMLxoTBulTyE4ynvf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btMLxoTBulTyE4ynvfR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btMLxoTBulTyE4ynvfR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btMLxoTBulTyE4ynvf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2700577b-d3de-467d-a9b0-050efc349743&quot; IsConsolidated=&quot;False&quot; IsTopLevel=&quot;False&quot; Layer=&quot;Harvey 0/8 [0]&quot; Source=&quot;Harvey 8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btMLxoTBulTyE4ynvfR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jsVuuLIBdcequM3nGO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2700577b-d3de-467d-a9b0-050efc349743&quot; IsConsolidated=&quot;False&quot; IsTopLevel=&quot;False&quot; Layer=&quot;Harvey 1/8 [1]&quot; Source=&quot;Harvey 8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2700577b-d3de-467d-a9b0-050efc349743&quot; IsConsolidated=&quot;False&quot; IsTopLevel=&quot;False&quot; Layer=&quot;Harvey 2/8 [2]&quot; Source=&quot;Harvey 8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2700577b-d3de-467d-a9b0-050efc349743&quot; IsConsolidated=&quot;False&quot; IsTopLevel=&quot;False&quot; Layer=&quot;Harvey 3/8 [3]&quot; Source=&quot;Harvey 8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2700577b-d3de-467d-a9b0-050efc349743&quot; IsConsolidated=&quot;False&quot; IsTopLevel=&quot;False&quot; Layer=&quot;Harvey 4/8 [4]&quot; Source=&quot;Harvey 8&quot; /&gt;"/>
</p:tagLst>
</file>

<file path=ppt/theme/theme1.xml><?xml version="1.0" encoding="utf-8"?>
<a:theme xmlns:a="http://schemas.openxmlformats.org/drawingml/2006/main" name="EY dark background">
  <a:themeElements>
    <a:clrScheme name="Benutzerdefiniert 8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FFE600"/>
      </a:hlink>
      <a:folHlink>
        <a:srgbClr val="FFE600"/>
      </a:folHlink>
    </a:clrScheme>
    <a:fontScheme name="GSA_Pursuits">
      <a:majorFont>
        <a:latin typeface="EYInterstate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2D2DA"/>
        </a:solidFill>
        <a:ln w="12700" cap="sq" cmpd="sng" algn="ctr">
          <a:noFill/>
          <a:prstDash val="solid"/>
          <a:miter lim="800000"/>
          <a:tailEnd type="none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smtClean="0">
            <a:ln>
              <a:noFill/>
            </a:ln>
            <a:solidFill>
              <a:srgbClr val="2E2E38"/>
            </a:solidFill>
            <a:effectLst/>
            <a:uLnTx/>
            <a:uFillTx/>
          </a:defRPr>
        </a:defPPr>
      </a:lstStyle>
    </a:spDef>
    <a:lnDef>
      <a:spPr>
        <a:noFill/>
        <a:ln w="12700" cap="sq" cmpd="sng" algn="ctr">
          <a:solidFill>
            <a:srgbClr val="D2D2DA"/>
          </a:solidFill>
          <a:prstDash val="solid"/>
          <a:miter lim="800000"/>
          <a:tailEnd type="none"/>
        </a:ln>
        <a:effectLst/>
      </a:spPr>
      <a:bodyPr/>
      <a:lstStyle/>
    </a:lnDef>
    <a:txDef>
      <a:spPr>
        <a:noFill/>
        <a:ln w="12700" cap="sq">
          <a:noFill/>
          <a:miter lim="800000"/>
        </a:ln>
      </a:spPr>
      <a:bodyPr wrap="square" lIns="0" tIns="0" rIns="0" bIns="0" rtlCol="0">
        <a:noAutofit/>
      </a:bodyPr>
      <a:lstStyle>
        <a:defPPr algn="l" defTabSz="685434">
          <a:spcAft>
            <a:spcPts val="600"/>
          </a:spcAft>
          <a:buClr>
            <a:srgbClr val="FFE600"/>
          </a:buClr>
          <a:buSzPct val="80000"/>
          <a:defRPr sz="1400" kern="0" dirty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Y_DE_presentation_16x9_2019.pptx" id="{498DFC7E-2F02-4EC1-809D-1FC35964144A}" vid="{61C89142-1D04-4713-9D4A-29A35BAFA16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8668DC041D7D45A5C0876B780FE68F" ma:contentTypeVersion="10" ma:contentTypeDescription="Create a new document." ma:contentTypeScope="" ma:versionID="d7f66b26e9729a150b21f5939689a7b4">
  <xsd:schema xmlns:xsd="http://www.w3.org/2001/XMLSchema" xmlns:xs="http://www.w3.org/2001/XMLSchema" xmlns:p="http://schemas.microsoft.com/office/2006/metadata/properties" xmlns:ns3="e21eaf9b-2164-4684-aea2-21c9f12d8e7e" xmlns:ns4="c0f00013-1187-4842-8aba-46390426c69d" targetNamespace="http://schemas.microsoft.com/office/2006/metadata/properties" ma:root="true" ma:fieldsID="9f4e00592093a2a9def891403ccf8f94" ns3:_="" ns4:_="">
    <xsd:import namespace="e21eaf9b-2164-4684-aea2-21c9f12d8e7e"/>
    <xsd:import namespace="c0f00013-1187-4842-8aba-46390426c69d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1eaf9b-2164-4684-aea2-21c9f12d8e7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f00013-1187-4842-8aba-46390426c69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6BFF52D-4218-4A59-994B-2459665D953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4C90F3C-CC2F-47C8-9B27-73EB17BBE43D}">
  <ds:schemaRefs>
    <ds:schemaRef ds:uri="c0f00013-1187-4842-8aba-46390426c69d"/>
    <ds:schemaRef ds:uri="e21eaf9b-2164-4684-aea2-21c9f12d8e7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BA3CEB16-7648-4B2D-A1AD-EE921B910B3E}">
  <ds:schemaRefs>
    <ds:schemaRef ds:uri="c0f00013-1187-4842-8aba-46390426c69d"/>
    <ds:schemaRef ds:uri="e21eaf9b-2164-4684-aea2-21c9f12d8e7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Y_DE_presentation_16x9_2019</Template>
  <Application>Microsoft Office PowerPoint</Application>
  <PresentationFormat>Custom</PresentationFormat>
  <Slides>24</Slides>
  <Notes>14</Notes>
  <HiddenSlides>1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5" baseType="lpstr">
      <vt:lpstr>EY dark background</vt:lpstr>
      <vt:lpstr>PowerPoint Presentation</vt:lpstr>
      <vt:lpstr>PowerPoint Presentation</vt:lpstr>
      <vt:lpstr>PowerPoint Presentation</vt:lpstr>
      <vt:lpstr>Equipo</vt:lpstr>
      <vt:lpstr>PowerPoint Presentation</vt:lpstr>
      <vt:lpstr>Intoducción</vt:lpstr>
      <vt:lpstr>PowerPoint Presentation</vt:lpstr>
      <vt:lpstr>Gráficos</vt:lpstr>
      <vt:lpstr>SQL</vt:lpstr>
      <vt:lpstr>Gráficos</vt:lpstr>
      <vt:lpstr>Gráficos</vt:lpstr>
      <vt:lpstr>Gráficos</vt:lpstr>
      <vt:lpstr>PowerPoint Presentation</vt:lpstr>
      <vt:lpstr>SQL</vt:lpstr>
      <vt:lpstr>Gráficos</vt:lpstr>
      <vt:lpstr>Gráficos</vt:lpstr>
      <vt:lpstr>Gráficos</vt:lpstr>
      <vt:lpstr>Gráficos</vt:lpstr>
      <vt:lpstr>PowerPoint Presentation</vt:lpstr>
      <vt:lpstr>SQL</vt:lpstr>
      <vt:lpstr>Gráficos</vt:lpstr>
      <vt:lpstr>PowerPoint Presentation</vt:lpstr>
      <vt:lpstr>Problemas y soluciones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cp:revision>1</cp:revision>
  <dcterms:created xsi:type="dcterms:W3CDTF">2019-10-30T12:25:37Z</dcterms:created>
  <dcterms:modified xsi:type="dcterms:W3CDTF">2025-09-25T15:56:02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8668DC041D7D45A5C0876B780FE68F</vt:lpwstr>
  </property>
</Properties>
</file>